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theme/theme2.xml" ContentType="application/vnd.openxmlformats-officedocument.theme+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theme/theme3.xml" ContentType="application/vnd.openxmlformats-officedocument.theme+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9.xml" ContentType="application/vnd.openxmlformats-officedocument.presentationml.notesSlide+xml"/>
  <Override PartName="/ppt/comments/modernComment_2F7_1BB70A98.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3648" r:id="rId2"/>
    <p:sldMasterId id="2147484595" r:id="rId3"/>
    <p:sldMasterId id="2147487382" r:id="rId4"/>
  </p:sldMasterIdLst>
  <p:notesMasterIdLst>
    <p:notesMasterId r:id="rId55"/>
  </p:notesMasterIdLst>
  <p:sldIdLst>
    <p:sldId id="280" r:id="rId5"/>
    <p:sldId id="283" r:id="rId6"/>
    <p:sldId id="712" r:id="rId7"/>
    <p:sldId id="711" r:id="rId8"/>
    <p:sldId id="710" r:id="rId9"/>
    <p:sldId id="709" r:id="rId10"/>
    <p:sldId id="707" r:id="rId11"/>
    <p:sldId id="708" r:id="rId12"/>
    <p:sldId id="713" r:id="rId13"/>
    <p:sldId id="716" r:id="rId14"/>
    <p:sldId id="705" r:id="rId15"/>
    <p:sldId id="781" r:id="rId16"/>
    <p:sldId id="780" r:id="rId17"/>
    <p:sldId id="782" r:id="rId18"/>
    <p:sldId id="757" r:id="rId19"/>
    <p:sldId id="752" r:id="rId20"/>
    <p:sldId id="753" r:id="rId21"/>
    <p:sldId id="755" r:id="rId22"/>
    <p:sldId id="751" r:id="rId23"/>
    <p:sldId id="756" r:id="rId24"/>
    <p:sldId id="758" r:id="rId25"/>
    <p:sldId id="783" r:id="rId26"/>
    <p:sldId id="548" r:id="rId27"/>
    <p:sldId id="551" r:id="rId28"/>
    <p:sldId id="550" r:id="rId29"/>
    <p:sldId id="690" r:id="rId30"/>
    <p:sldId id="736" r:id="rId31"/>
    <p:sldId id="784" r:id="rId32"/>
    <p:sldId id="750" r:id="rId33"/>
    <p:sldId id="326" r:id="rId34"/>
    <p:sldId id="779" r:id="rId35"/>
    <p:sldId id="778" r:id="rId36"/>
    <p:sldId id="776" r:id="rId37"/>
    <p:sldId id="775" r:id="rId38"/>
    <p:sldId id="774" r:id="rId39"/>
    <p:sldId id="773" r:id="rId40"/>
    <p:sldId id="772" r:id="rId41"/>
    <p:sldId id="771" r:id="rId42"/>
    <p:sldId id="770" r:id="rId43"/>
    <p:sldId id="769" r:id="rId44"/>
    <p:sldId id="768" r:id="rId45"/>
    <p:sldId id="767" r:id="rId46"/>
    <p:sldId id="766" r:id="rId47"/>
    <p:sldId id="765" r:id="rId48"/>
    <p:sldId id="764" r:id="rId49"/>
    <p:sldId id="763" r:id="rId50"/>
    <p:sldId id="762" r:id="rId51"/>
    <p:sldId id="761" r:id="rId52"/>
    <p:sldId id="760" r:id="rId53"/>
    <p:sldId id="759" r:id="rId5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EAEE"/>
    <a:srgbClr val="E7E9EE"/>
    <a:srgbClr val="F5668F"/>
    <a:srgbClr val="F4B03D"/>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1ED96-5143-9562-5248-833DF36573A1}" v="1" dt="2023-10-23T23:48:58.023"/>
    <p1510:client id="{03F32AA3-4AC6-3C76-F208-A1A7FF160CA9}" v="8" dt="2023-12-07T17:53:36.478"/>
    <p1510:client id="{11980D98-74D1-71E7-E86A-19E64303BD27}" v="153" dt="2023-10-30T16:12:53.918"/>
    <p1510:client id="{1D788AEF-8DA4-9FDC-F8F6-781996136A25}" v="1" dt="2023-11-20T17:20:03.301"/>
    <p1510:client id="{21C21437-9FB2-E09B-996A-2FA9CEE027D3}" v="154" dt="2023-12-07T14:26:24.357"/>
    <p1510:client id="{22291B7C-EE45-2EE8-551D-82B39F6BC22D}" v="7" dt="2023-12-07T15:56:12.990"/>
    <p1510:client id="{22D2D811-4E65-4C88-896C-E87684E0524E}" v="158" dt="2023-10-27T19:12:45.418"/>
    <p1510:client id="{27D417B1-AC1D-5613-774C-09BCD51B442A}" v="182" dt="2023-11-20T15:57:10.100"/>
    <p1510:client id="{2D3E1CBF-0F08-92B9-6543-9FE5E77E56E9}" v="418" dt="2023-10-28T14:57:28.029"/>
    <p1510:client id="{2F9B0802-2085-E0B0-3887-F6AEBA41C785}" v="19" dt="2023-10-27T20:01:53.166"/>
    <p1510:client id="{300BD813-CD9C-8649-0637-C0ACE24151DD}" v="50" dt="2023-10-26T17:23:46.185"/>
    <p1510:client id="{305AC9D0-E55A-2A1E-F2E7-EBEA3644D9AC}" v="84" dt="2023-10-24T16:00:52.345"/>
    <p1510:client id="{316D5976-A92B-4DA1-B7A8-34F7AEF9B15D}" v="4" dt="2023-10-25T16:12:34.060"/>
    <p1510:client id="{35DF06BD-25AA-054F-4D8F-840FED1FA1E6}" v="4" dt="2023-10-31T02:20:39.446"/>
    <p1510:client id="{36AFF060-5319-E6D5-0957-513AFAA6A2E5}" v="48" dt="2023-10-24T18:55:21.243"/>
    <p1510:client id="{3A3E4FEE-6F9B-7EC3-B167-3C31BBE96824}" v="665" dt="2023-10-31T16:46:24.892"/>
    <p1510:client id="{4159E2D1-1878-F778-C779-F53B58D257B9}" v="40" dt="2023-10-27T17:39:07.217"/>
    <p1510:client id="{4F909934-BF80-9406-F823-1BE12A003AA4}" v="15" dt="2023-11-20T15:22:24.918"/>
    <p1510:client id="{524F6783-CF9C-A7C1-D142-27E8864BC3CB}" v="52" dt="2023-10-24T02:49:43.199"/>
    <p1510:client id="{525C70A3-2AD6-57EA-9F7E-A6FC0841DEBD}" v="24" dt="2023-10-23T23:00:26.391"/>
    <p1510:client id="{5DC65600-F3C9-4205-B138-3708EB0A1C1D}" v="1" dt="2023-05-09T18:50:49.614"/>
    <p1510:client id="{61DCECB8-FCC4-463F-180A-DE94BEA715D4}" v="482" dt="2023-10-30T22:49:41.685"/>
    <p1510:client id="{6299E2EC-AA5F-793A-628C-EBCF8BF5D2B0}" v="2" dt="2023-11-20T14:40:33.879"/>
    <p1510:client id="{64CA3CFC-DFB9-4EB2-185A-94BBCF197F69}" v="12" dt="2023-10-31T18:53:06.815"/>
    <p1510:client id="{695BEAAF-3A7B-A2A0-C1D6-C8A00CDE5A92}" v="973" dt="2023-12-06T17:49:36.754"/>
    <p1510:client id="{6F4BA6F9-4A5A-3B13-85C3-6DB0B61CBC00}" v="2882" dt="2023-10-24T15:58:08.213"/>
    <p1510:client id="{782B053E-75E5-959C-8BAD-C5B3CB312E1F}" v="9" dt="2023-10-27T17:32:56.380"/>
    <p1510:client id="{8024C570-7E9A-022B-CE90-C0FD861720C1}" v="843" dt="2023-10-23T23:03:36.862"/>
    <p1510:client id="{82A9CFC2-DAE6-1636-50A6-6370820CA2B8}" v="7" dt="2023-12-06T00:39:52.286"/>
    <p1510:client id="{8544FFE2-8133-585B-66CC-2C8177C23087}" v="372" dt="2023-11-18T01:37:30.204"/>
    <p1510:client id="{85CD7F39-8F26-7081-E17F-9CFE5E103D63}" v="54" dt="2023-10-24T19:03:39.508"/>
    <p1510:client id="{8E3BEBCA-AD6A-76DA-B8D3-33301DA82F27}" v="45" dt="2023-10-24T18:26:04.342"/>
    <p1510:client id="{8E54177A-FEA1-170D-0EA8-ABD6FF4ACD90}" v="42" dt="2023-10-30T19:44:29.502"/>
    <p1510:client id="{9570DE12-7482-A365-A3C2-E94E5026C97C}" v="21" dt="2023-11-17T16:55:40.336"/>
    <p1510:client id="{96B049F1-23A1-EFBD-700B-2889CC878206}" v="52" dt="2023-10-31T04:45:51.889"/>
    <p1510:client id="{9DE0ADE9-A0A8-D2EA-1EF2-AD3C089DDA7A}" v="252" dt="2023-10-19T17:41:58.437"/>
    <p1510:client id="{9EA480BD-2ABC-0E67-CCB3-672E9005EA21}" v="92" dt="2023-10-31T18:53:54.682"/>
    <p1510:client id="{AC5E249F-4AD8-EC7C-FB2F-902F01AC2000}" v="515" dt="2023-10-27T16:29:18.072"/>
    <p1510:client id="{AFE245F6-AF84-51BF-AB4C-88F7188B99E6}" v="85" dt="2023-10-31T20:15:08.574"/>
    <p1510:client id="{B4964270-B086-4309-6459-65EA28D1CB38}" v="3" dt="2023-10-26T06:44:01.652"/>
    <p1510:client id="{B6F32D0F-7EF8-C22A-D4AE-933B4E9674EC}" v="235" dt="2023-10-24T04:39:00.705"/>
    <p1510:client id="{BC047B72-8F18-01C2-FA60-A38A99380270}" v="753" dt="2023-10-31T04:33:13.284"/>
    <p1510:client id="{BFC87AA7-C8F9-9EFC-19DD-EB23F26608F3}" v="9" dt="2023-11-16T22:57:07.054"/>
    <p1510:client id="{C3552A06-5909-6D3B-9B48-7F6146D07F3D}" v="154" dt="2023-10-30T19:52:09.301"/>
    <p1510:client id="{C486D7C7-B4C7-7F28-6F17-619AAEE18350}" v="24" dt="2023-12-05T19:16:13.985"/>
    <p1510:client id="{C766F19B-0830-AB8B-3618-23EF0AC64A24}" v="68" dt="2023-10-30T15:49:33.394"/>
    <p1510:client id="{C93D31B3-2B8C-DAAF-7090-3A2197BCB065}" v="274" dt="2023-10-27T21:32:15.542"/>
    <p1510:client id="{D1FD5983-AA3B-9DE6-CECC-8854B06948B5}" v="35" dt="2023-11-15T18:35:58.840"/>
    <p1510:client id="{DC570ED0-804E-A0E2-5D93-D510896DFB64}" v="865" dt="2023-10-24T14:25:12.957"/>
    <p1510:client id="{F448B036-0349-8976-DAC4-88BE6A4E488E}" v="457" dt="2023-11-20T05:00:10.909"/>
    <p1510:client id="{FC194283-EEC6-0521-D05D-577D27A78776}" v="273" dt="2023-10-30T20:28:43.602"/>
    <p1510:client id="{FD6AAC05-D070-CD49-5625-8B86DFB12175}" v="57" dt="2023-12-05T21:41:38.559"/>
    <p1510:client id="{FFAD42E9-C519-11DF-E299-D524098D897E}" v="54" dt="2023-10-24T02:47:59.1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microsoft.com/office/2015/10/relationships/revisionInfo" Target="revisionInfo.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lana Rivera" userId="S::arg3669@ads.northwestern.edu::fc8b707a-b7e9-4f2a-8d71-2d76819b7881" providerId="AD" clId="Web-{695BEAAF-3A7B-A2A0-C1D6-C8A00CDE5A92}"/>
    <pc:docChg chg="addSld delSld modSld sldOrd">
      <pc:chgData name="Alana Rivera" userId="S::arg3669@ads.northwestern.edu::fc8b707a-b7e9-4f2a-8d71-2d76819b7881" providerId="AD" clId="Web-{695BEAAF-3A7B-A2A0-C1D6-C8A00CDE5A92}" dt="2023-12-06T17:49:36.754" v="793"/>
      <pc:docMkLst>
        <pc:docMk/>
      </pc:docMkLst>
      <pc:sldChg chg="addCm delCm">
        <pc:chgData name="Alana Rivera" userId="S::arg3669@ads.northwestern.edu::fc8b707a-b7e9-4f2a-8d71-2d76819b7881" providerId="AD" clId="Web-{695BEAAF-3A7B-A2A0-C1D6-C8A00CDE5A92}" dt="2023-12-06T17:49:36.754" v="793"/>
        <pc:sldMkLst>
          <pc:docMk/>
          <pc:sldMk cId="3127921386" sldId="280"/>
        </pc:sldMkLst>
        <pc:extLst>
          <p:ext xmlns:p="http://schemas.openxmlformats.org/presentationml/2006/main" uri="{D6D511B9-2390-475A-947B-AFAB55BFBCF1}">
            <pc226:cmChg xmlns:pc226="http://schemas.microsoft.com/office/powerpoint/2022/06/main/command" chg="add del">
              <pc226:chgData name="Alana Rivera" userId="S::arg3669@ads.northwestern.edu::fc8b707a-b7e9-4f2a-8d71-2d76819b7881" providerId="AD" clId="Web-{695BEAAF-3A7B-A2A0-C1D6-C8A00CDE5A92}" dt="2023-12-06T17:49:36.754" v="793"/>
              <pc2:cmMkLst xmlns:pc2="http://schemas.microsoft.com/office/powerpoint/2019/9/main/command">
                <pc:docMk/>
                <pc:sldMk cId="3127921386" sldId="280"/>
                <pc2:cmMk id="{83EC94A8-E0F0-4C62-80F8-18F6F7411A81}"/>
              </pc2:cmMkLst>
            </pc226:cmChg>
          </p:ext>
        </pc:extLst>
      </pc:sldChg>
      <pc:sldChg chg="modSp">
        <pc:chgData name="Alana Rivera" userId="S::arg3669@ads.northwestern.edu::fc8b707a-b7e9-4f2a-8d71-2d76819b7881" providerId="AD" clId="Web-{695BEAAF-3A7B-A2A0-C1D6-C8A00CDE5A92}" dt="2023-12-06T16:19:35.941" v="624" actId="20577"/>
        <pc:sldMkLst>
          <pc:docMk/>
          <pc:sldMk cId="4044691067" sldId="283"/>
        </pc:sldMkLst>
        <pc:spChg chg="mod">
          <ac:chgData name="Alana Rivera" userId="S::arg3669@ads.northwestern.edu::fc8b707a-b7e9-4f2a-8d71-2d76819b7881" providerId="AD" clId="Web-{695BEAAF-3A7B-A2A0-C1D6-C8A00CDE5A92}" dt="2023-12-06T16:19:35.941" v="624" actId="20577"/>
          <ac:spMkLst>
            <pc:docMk/>
            <pc:sldMk cId="4044691067" sldId="283"/>
            <ac:spMk id="16387" creationId="{00000000-0000-0000-0000-000000000000}"/>
          </ac:spMkLst>
        </pc:spChg>
      </pc:sldChg>
      <pc:sldChg chg="addSp delSp modSp">
        <pc:chgData name="Alana Rivera" userId="S::arg3669@ads.northwestern.edu::fc8b707a-b7e9-4f2a-8d71-2d76819b7881" providerId="AD" clId="Web-{695BEAAF-3A7B-A2A0-C1D6-C8A00CDE5A92}" dt="2023-12-06T16:02:59.866" v="500"/>
        <pc:sldMkLst>
          <pc:docMk/>
          <pc:sldMk cId="2086939794" sldId="326"/>
        </pc:sldMkLst>
        <pc:spChg chg="add del mod">
          <ac:chgData name="Alana Rivera" userId="S::arg3669@ads.northwestern.edu::fc8b707a-b7e9-4f2a-8d71-2d76819b7881" providerId="AD" clId="Web-{695BEAAF-3A7B-A2A0-C1D6-C8A00CDE5A92}" dt="2023-12-06T16:02:59.866" v="500"/>
          <ac:spMkLst>
            <pc:docMk/>
            <pc:sldMk cId="2086939794" sldId="326"/>
            <ac:spMk id="2" creationId="{2EA7A78E-51F0-A4C8-EBE6-AE533809C12D}"/>
          </ac:spMkLst>
        </pc:spChg>
        <pc:spChg chg="add del mod">
          <ac:chgData name="Alana Rivera" userId="S::arg3669@ads.northwestern.edu::fc8b707a-b7e9-4f2a-8d71-2d76819b7881" providerId="AD" clId="Web-{695BEAAF-3A7B-A2A0-C1D6-C8A00CDE5A92}" dt="2023-12-06T16:02:51.412" v="497"/>
          <ac:spMkLst>
            <pc:docMk/>
            <pc:sldMk cId="2086939794" sldId="326"/>
            <ac:spMk id="7" creationId="{CADD112D-AFFA-1039-0E42-868DF8B7D6CC}"/>
          </ac:spMkLst>
        </pc:spChg>
      </pc:sldChg>
      <pc:sldChg chg="del">
        <pc:chgData name="Alana Rivera" userId="S::arg3669@ads.northwestern.edu::fc8b707a-b7e9-4f2a-8d71-2d76819b7881" providerId="AD" clId="Web-{695BEAAF-3A7B-A2A0-C1D6-C8A00CDE5A92}" dt="2023-12-06T14:44:04.924" v="283"/>
        <pc:sldMkLst>
          <pc:docMk/>
          <pc:sldMk cId="3635595752" sldId="545"/>
        </pc:sldMkLst>
      </pc:sldChg>
      <pc:sldChg chg="del">
        <pc:chgData name="Alana Rivera" userId="S::arg3669@ads.northwestern.edu::fc8b707a-b7e9-4f2a-8d71-2d76819b7881" providerId="AD" clId="Web-{695BEAAF-3A7B-A2A0-C1D6-C8A00CDE5A92}" dt="2023-12-06T14:44:26.315" v="289"/>
        <pc:sldMkLst>
          <pc:docMk/>
          <pc:sldMk cId="1036043289" sldId="546"/>
        </pc:sldMkLst>
      </pc:sldChg>
      <pc:sldChg chg="modSp ord">
        <pc:chgData name="Alana Rivera" userId="S::arg3669@ads.northwestern.edu::fc8b707a-b7e9-4f2a-8d71-2d76819b7881" providerId="AD" clId="Web-{695BEAAF-3A7B-A2A0-C1D6-C8A00CDE5A92}" dt="2023-12-06T16:11:50.162" v="566"/>
        <pc:sldMkLst>
          <pc:docMk/>
          <pc:sldMk cId="3745706804" sldId="548"/>
        </pc:sldMkLst>
        <pc:spChg chg="mod">
          <ac:chgData name="Alana Rivera" userId="S::arg3669@ads.northwestern.edu::fc8b707a-b7e9-4f2a-8d71-2d76819b7881" providerId="AD" clId="Web-{695BEAAF-3A7B-A2A0-C1D6-C8A00CDE5A92}" dt="2023-12-06T16:01:05.972" v="456" actId="20577"/>
          <ac:spMkLst>
            <pc:docMk/>
            <pc:sldMk cId="3745706804" sldId="548"/>
            <ac:spMk id="2" creationId="{C2B429CC-FC8C-ECA7-15C8-7563C27BFB95}"/>
          </ac:spMkLst>
        </pc:spChg>
        <pc:spChg chg="mod">
          <ac:chgData name="Alana Rivera" userId="S::arg3669@ads.northwestern.edu::fc8b707a-b7e9-4f2a-8d71-2d76819b7881" providerId="AD" clId="Web-{695BEAAF-3A7B-A2A0-C1D6-C8A00CDE5A92}" dt="2023-12-06T16:01:16.488" v="458" actId="20577"/>
          <ac:spMkLst>
            <pc:docMk/>
            <pc:sldMk cId="3745706804" sldId="548"/>
            <ac:spMk id="3" creationId="{C0454086-94BF-0693-766D-F1659194519A}"/>
          </ac:spMkLst>
        </pc:spChg>
      </pc:sldChg>
      <pc:sldChg chg="modSp">
        <pc:chgData name="Alana Rivera" userId="S::arg3669@ads.northwestern.edu::fc8b707a-b7e9-4f2a-8d71-2d76819b7881" providerId="AD" clId="Web-{695BEAAF-3A7B-A2A0-C1D6-C8A00CDE5A92}" dt="2023-12-06T16:01:43.926" v="470" actId="20577"/>
        <pc:sldMkLst>
          <pc:docMk/>
          <pc:sldMk cId="3472964082" sldId="550"/>
        </pc:sldMkLst>
        <pc:spChg chg="mod">
          <ac:chgData name="Alana Rivera" userId="S::arg3669@ads.northwestern.edu::fc8b707a-b7e9-4f2a-8d71-2d76819b7881" providerId="AD" clId="Web-{695BEAAF-3A7B-A2A0-C1D6-C8A00CDE5A92}" dt="2023-12-06T16:01:43.926" v="470" actId="20577"/>
          <ac:spMkLst>
            <pc:docMk/>
            <pc:sldMk cId="3472964082" sldId="550"/>
            <ac:spMk id="53" creationId="{00000000-0000-0000-0000-000000000000}"/>
          </ac:spMkLst>
        </pc:spChg>
      </pc:sldChg>
      <pc:sldChg chg="del">
        <pc:chgData name="Alana Rivera" userId="S::arg3669@ads.northwestern.edu::fc8b707a-b7e9-4f2a-8d71-2d76819b7881" providerId="AD" clId="Web-{695BEAAF-3A7B-A2A0-C1D6-C8A00CDE5A92}" dt="2023-12-06T14:44:16.658" v="286"/>
        <pc:sldMkLst>
          <pc:docMk/>
          <pc:sldMk cId="714682852" sldId="552"/>
        </pc:sldMkLst>
      </pc:sldChg>
      <pc:sldChg chg="del">
        <pc:chgData name="Alana Rivera" userId="S::arg3669@ads.northwestern.edu::fc8b707a-b7e9-4f2a-8d71-2d76819b7881" providerId="AD" clId="Web-{695BEAAF-3A7B-A2A0-C1D6-C8A00CDE5A92}" dt="2023-12-06T14:44:16.971" v="287"/>
        <pc:sldMkLst>
          <pc:docMk/>
          <pc:sldMk cId="1522616096" sldId="555"/>
        </pc:sldMkLst>
      </pc:sldChg>
      <pc:sldChg chg="del">
        <pc:chgData name="Alana Rivera" userId="S::arg3669@ads.northwestern.edu::fc8b707a-b7e9-4f2a-8d71-2d76819b7881" providerId="AD" clId="Web-{695BEAAF-3A7B-A2A0-C1D6-C8A00CDE5A92}" dt="2023-12-06T14:44:16.268" v="285"/>
        <pc:sldMkLst>
          <pc:docMk/>
          <pc:sldMk cId="1514756035" sldId="556"/>
        </pc:sldMkLst>
      </pc:sldChg>
      <pc:sldChg chg="del">
        <pc:chgData name="Alana Rivera" userId="S::arg3669@ads.northwestern.edu::fc8b707a-b7e9-4f2a-8d71-2d76819b7881" providerId="AD" clId="Web-{695BEAAF-3A7B-A2A0-C1D6-C8A00CDE5A92}" dt="2023-12-06T14:44:23.284" v="288"/>
        <pc:sldMkLst>
          <pc:docMk/>
          <pc:sldMk cId="773696652" sldId="558"/>
        </pc:sldMkLst>
      </pc:sldChg>
      <pc:sldChg chg="add del">
        <pc:chgData name="Alana Rivera" userId="S::arg3669@ads.northwestern.edu::fc8b707a-b7e9-4f2a-8d71-2d76819b7881" providerId="AD" clId="Web-{695BEAAF-3A7B-A2A0-C1D6-C8A00CDE5A92}" dt="2023-12-06T16:05:39.667" v="543"/>
        <pc:sldMkLst>
          <pc:docMk/>
          <pc:sldMk cId="1141815353" sldId="562"/>
        </pc:sldMkLst>
      </pc:sldChg>
      <pc:sldChg chg="del">
        <pc:chgData name="Alana Rivera" userId="S::arg3669@ads.northwestern.edu::fc8b707a-b7e9-4f2a-8d71-2d76819b7881" providerId="AD" clId="Web-{695BEAAF-3A7B-A2A0-C1D6-C8A00CDE5A92}" dt="2023-12-06T14:59:07.867" v="292"/>
        <pc:sldMkLst>
          <pc:docMk/>
          <pc:sldMk cId="3419957415" sldId="577"/>
        </pc:sldMkLst>
      </pc:sldChg>
      <pc:sldChg chg="del">
        <pc:chgData name="Alana Rivera" userId="S::arg3669@ads.northwestern.edu::fc8b707a-b7e9-4f2a-8d71-2d76819b7881" providerId="AD" clId="Web-{695BEAAF-3A7B-A2A0-C1D6-C8A00CDE5A92}" dt="2023-12-06T14:59:34.243" v="296"/>
        <pc:sldMkLst>
          <pc:docMk/>
          <pc:sldMk cId="785115983" sldId="578"/>
        </pc:sldMkLst>
      </pc:sldChg>
      <pc:sldChg chg="del">
        <pc:chgData name="Alana Rivera" userId="S::arg3669@ads.northwestern.edu::fc8b707a-b7e9-4f2a-8d71-2d76819b7881" providerId="AD" clId="Web-{695BEAAF-3A7B-A2A0-C1D6-C8A00CDE5A92}" dt="2023-12-06T14:59:26.149" v="295"/>
        <pc:sldMkLst>
          <pc:docMk/>
          <pc:sldMk cId="3030449316" sldId="579"/>
        </pc:sldMkLst>
      </pc:sldChg>
      <pc:sldChg chg="del">
        <pc:chgData name="Alana Rivera" userId="S::arg3669@ads.northwestern.edu::fc8b707a-b7e9-4f2a-8d71-2d76819b7881" providerId="AD" clId="Web-{695BEAAF-3A7B-A2A0-C1D6-C8A00CDE5A92}" dt="2023-12-06T14:59:18.680" v="294"/>
        <pc:sldMkLst>
          <pc:docMk/>
          <pc:sldMk cId="4283907660" sldId="580"/>
        </pc:sldMkLst>
      </pc:sldChg>
      <pc:sldChg chg="del">
        <pc:chgData name="Alana Rivera" userId="S::arg3669@ads.northwestern.edu::fc8b707a-b7e9-4f2a-8d71-2d76819b7881" providerId="AD" clId="Web-{695BEAAF-3A7B-A2A0-C1D6-C8A00CDE5A92}" dt="2023-12-06T14:59:15.039" v="293"/>
        <pc:sldMkLst>
          <pc:docMk/>
          <pc:sldMk cId="3429940818" sldId="581"/>
        </pc:sldMkLst>
      </pc:sldChg>
      <pc:sldChg chg="del">
        <pc:chgData name="Alana Rivera" userId="S::arg3669@ads.northwestern.edu::fc8b707a-b7e9-4f2a-8d71-2d76819b7881" providerId="AD" clId="Web-{695BEAAF-3A7B-A2A0-C1D6-C8A00CDE5A92}" dt="2023-12-06T16:12:02.335" v="567"/>
        <pc:sldMkLst>
          <pc:docMk/>
          <pc:sldMk cId="3573947264" sldId="584"/>
        </pc:sldMkLst>
      </pc:sldChg>
      <pc:sldChg chg="del">
        <pc:chgData name="Alana Rivera" userId="S::arg3669@ads.northwestern.edu::fc8b707a-b7e9-4f2a-8d71-2d76819b7881" providerId="AD" clId="Web-{695BEAAF-3A7B-A2A0-C1D6-C8A00CDE5A92}" dt="2023-12-06T14:44:06.424" v="284"/>
        <pc:sldMkLst>
          <pc:docMk/>
          <pc:sldMk cId="3726638559" sldId="616"/>
        </pc:sldMkLst>
      </pc:sldChg>
      <pc:sldChg chg="add del">
        <pc:chgData name="Alana Rivera" userId="S::arg3669@ads.northwestern.edu::fc8b707a-b7e9-4f2a-8d71-2d76819b7881" providerId="AD" clId="Web-{695BEAAF-3A7B-A2A0-C1D6-C8A00CDE5A92}" dt="2023-12-06T16:12:02.413" v="568"/>
        <pc:sldMkLst>
          <pc:docMk/>
          <pc:sldMk cId="3850125703" sldId="622"/>
        </pc:sldMkLst>
      </pc:sldChg>
      <pc:sldChg chg="del">
        <pc:chgData name="Alana Rivera" userId="S::arg3669@ads.northwestern.edu::fc8b707a-b7e9-4f2a-8d71-2d76819b7881" providerId="AD" clId="Web-{695BEAAF-3A7B-A2A0-C1D6-C8A00CDE5A92}" dt="2023-12-06T14:21:24.766" v="48"/>
        <pc:sldMkLst>
          <pc:docMk/>
          <pc:sldMk cId="3572565421" sldId="652"/>
        </pc:sldMkLst>
      </pc:sldChg>
      <pc:sldChg chg="del">
        <pc:chgData name="Alana Rivera" userId="S::arg3669@ads.northwestern.edu::fc8b707a-b7e9-4f2a-8d71-2d76819b7881" providerId="AD" clId="Web-{695BEAAF-3A7B-A2A0-C1D6-C8A00CDE5A92}" dt="2023-12-06T14:21:28.844" v="49"/>
        <pc:sldMkLst>
          <pc:docMk/>
          <pc:sldMk cId="4023770579" sldId="654"/>
        </pc:sldMkLst>
      </pc:sldChg>
      <pc:sldChg chg="del">
        <pc:chgData name="Alana Rivera" userId="S::arg3669@ads.northwestern.edu::fc8b707a-b7e9-4f2a-8d71-2d76819b7881" providerId="AD" clId="Web-{695BEAAF-3A7B-A2A0-C1D6-C8A00CDE5A92}" dt="2023-12-06T14:43:55.814" v="282"/>
        <pc:sldMkLst>
          <pc:docMk/>
          <pc:sldMk cId="3550543422" sldId="655"/>
        </pc:sldMkLst>
      </pc:sldChg>
      <pc:sldChg chg="add del">
        <pc:chgData name="Alana Rivera" userId="S::arg3669@ads.northwestern.edu::fc8b707a-b7e9-4f2a-8d71-2d76819b7881" providerId="AD" clId="Web-{695BEAAF-3A7B-A2A0-C1D6-C8A00CDE5A92}" dt="2023-12-06T16:05:39.652" v="542"/>
        <pc:sldMkLst>
          <pc:docMk/>
          <pc:sldMk cId="3336998141" sldId="681"/>
        </pc:sldMkLst>
      </pc:sldChg>
      <pc:sldChg chg="add del">
        <pc:chgData name="Alana Rivera" userId="S::arg3669@ads.northwestern.edu::fc8b707a-b7e9-4f2a-8d71-2d76819b7881" providerId="AD" clId="Web-{695BEAAF-3A7B-A2A0-C1D6-C8A00CDE5A92}" dt="2023-12-06T16:05:40.573" v="548"/>
        <pc:sldMkLst>
          <pc:docMk/>
          <pc:sldMk cId="2646520615" sldId="683"/>
        </pc:sldMkLst>
      </pc:sldChg>
      <pc:sldChg chg="add del">
        <pc:chgData name="Alana Rivera" userId="S::arg3669@ads.northwestern.edu::fc8b707a-b7e9-4f2a-8d71-2d76819b7881" providerId="AD" clId="Web-{695BEAAF-3A7B-A2A0-C1D6-C8A00CDE5A92}" dt="2023-12-06T16:05:40.511" v="546"/>
        <pc:sldMkLst>
          <pc:docMk/>
          <pc:sldMk cId="2093351509" sldId="685"/>
        </pc:sldMkLst>
      </pc:sldChg>
      <pc:sldChg chg="add del">
        <pc:chgData name="Alana Rivera" userId="S::arg3669@ads.northwestern.edu::fc8b707a-b7e9-4f2a-8d71-2d76819b7881" providerId="AD" clId="Web-{695BEAAF-3A7B-A2A0-C1D6-C8A00CDE5A92}" dt="2023-12-06T16:05:40.198" v="545"/>
        <pc:sldMkLst>
          <pc:docMk/>
          <pc:sldMk cId="441543077" sldId="686"/>
        </pc:sldMkLst>
      </pc:sldChg>
      <pc:sldChg chg="add del">
        <pc:chgData name="Alana Rivera" userId="S::arg3669@ads.northwestern.edu::fc8b707a-b7e9-4f2a-8d71-2d76819b7881" providerId="AD" clId="Web-{695BEAAF-3A7B-A2A0-C1D6-C8A00CDE5A92}" dt="2023-12-06T16:05:40.558" v="547"/>
        <pc:sldMkLst>
          <pc:docMk/>
          <pc:sldMk cId="1641636598" sldId="687"/>
        </pc:sldMkLst>
      </pc:sldChg>
      <pc:sldChg chg="add del">
        <pc:chgData name="Alana Rivera" userId="S::arg3669@ads.northwestern.edu::fc8b707a-b7e9-4f2a-8d71-2d76819b7881" providerId="AD" clId="Web-{695BEAAF-3A7B-A2A0-C1D6-C8A00CDE5A92}" dt="2023-12-06T16:05:39.667" v="544"/>
        <pc:sldMkLst>
          <pc:docMk/>
          <pc:sldMk cId="588023370" sldId="689"/>
        </pc:sldMkLst>
      </pc:sldChg>
      <pc:sldChg chg="add del">
        <pc:chgData name="Alana Rivera" userId="S::arg3669@ads.northwestern.edu::fc8b707a-b7e9-4f2a-8d71-2d76819b7881" providerId="AD" clId="Web-{695BEAAF-3A7B-A2A0-C1D6-C8A00CDE5A92}" dt="2023-12-06T16:05:40.589" v="550"/>
        <pc:sldMkLst>
          <pc:docMk/>
          <pc:sldMk cId="1177085520" sldId="692"/>
        </pc:sldMkLst>
      </pc:sldChg>
      <pc:sldChg chg="add del">
        <pc:chgData name="Alana Rivera" userId="S::arg3669@ads.northwestern.edu::fc8b707a-b7e9-4f2a-8d71-2d76819b7881" providerId="AD" clId="Web-{695BEAAF-3A7B-A2A0-C1D6-C8A00CDE5A92}" dt="2023-12-06T16:05:40.573" v="549"/>
        <pc:sldMkLst>
          <pc:docMk/>
          <pc:sldMk cId="2730238647" sldId="693"/>
        </pc:sldMkLst>
      </pc:sldChg>
      <pc:sldChg chg="add del">
        <pc:chgData name="Alana Rivera" userId="S::arg3669@ads.northwestern.edu::fc8b707a-b7e9-4f2a-8d71-2d76819b7881" providerId="AD" clId="Web-{695BEAAF-3A7B-A2A0-C1D6-C8A00CDE5A92}" dt="2023-12-06T16:05:40.589" v="554"/>
        <pc:sldMkLst>
          <pc:docMk/>
          <pc:sldMk cId="661046635" sldId="694"/>
        </pc:sldMkLst>
      </pc:sldChg>
      <pc:sldChg chg="add del">
        <pc:chgData name="Alana Rivera" userId="S::arg3669@ads.northwestern.edu::fc8b707a-b7e9-4f2a-8d71-2d76819b7881" providerId="AD" clId="Web-{695BEAAF-3A7B-A2A0-C1D6-C8A00CDE5A92}" dt="2023-12-06T16:05:40.589" v="553"/>
        <pc:sldMkLst>
          <pc:docMk/>
          <pc:sldMk cId="3174384986" sldId="695"/>
        </pc:sldMkLst>
      </pc:sldChg>
      <pc:sldChg chg="add del">
        <pc:chgData name="Alana Rivera" userId="S::arg3669@ads.northwestern.edu::fc8b707a-b7e9-4f2a-8d71-2d76819b7881" providerId="AD" clId="Web-{695BEAAF-3A7B-A2A0-C1D6-C8A00CDE5A92}" dt="2023-12-06T16:05:40.589" v="552"/>
        <pc:sldMkLst>
          <pc:docMk/>
          <pc:sldMk cId="4074859317" sldId="696"/>
        </pc:sldMkLst>
      </pc:sldChg>
      <pc:sldChg chg="add del">
        <pc:chgData name="Alana Rivera" userId="S::arg3669@ads.northwestern.edu::fc8b707a-b7e9-4f2a-8d71-2d76819b7881" providerId="AD" clId="Web-{695BEAAF-3A7B-A2A0-C1D6-C8A00CDE5A92}" dt="2023-12-06T16:05:40.589" v="551"/>
        <pc:sldMkLst>
          <pc:docMk/>
          <pc:sldMk cId="1549218491" sldId="697"/>
        </pc:sldMkLst>
      </pc:sldChg>
      <pc:sldChg chg="del">
        <pc:chgData name="Alana Rivera" userId="S::arg3669@ads.northwestern.edu::fc8b707a-b7e9-4f2a-8d71-2d76819b7881" providerId="AD" clId="Web-{695BEAAF-3A7B-A2A0-C1D6-C8A00CDE5A92}" dt="2023-12-06T14:42:22.952" v="276"/>
        <pc:sldMkLst>
          <pc:docMk/>
          <pc:sldMk cId="1783310840" sldId="698"/>
        </pc:sldMkLst>
      </pc:sldChg>
      <pc:sldChg chg="add del">
        <pc:chgData name="Alana Rivera" userId="S::arg3669@ads.northwestern.edu::fc8b707a-b7e9-4f2a-8d71-2d76819b7881" providerId="AD" clId="Web-{695BEAAF-3A7B-A2A0-C1D6-C8A00CDE5A92}" dt="2023-12-06T16:05:40.652" v="558"/>
        <pc:sldMkLst>
          <pc:docMk/>
          <pc:sldMk cId="2547146411" sldId="699"/>
        </pc:sldMkLst>
      </pc:sldChg>
      <pc:sldChg chg="add del">
        <pc:chgData name="Alana Rivera" userId="S::arg3669@ads.northwestern.edu::fc8b707a-b7e9-4f2a-8d71-2d76819b7881" providerId="AD" clId="Web-{695BEAAF-3A7B-A2A0-C1D6-C8A00CDE5A92}" dt="2023-12-06T16:05:40.620" v="557"/>
        <pc:sldMkLst>
          <pc:docMk/>
          <pc:sldMk cId="2361021200" sldId="700"/>
        </pc:sldMkLst>
      </pc:sldChg>
      <pc:sldChg chg="add del">
        <pc:chgData name="Alana Rivera" userId="S::arg3669@ads.northwestern.edu::fc8b707a-b7e9-4f2a-8d71-2d76819b7881" providerId="AD" clId="Web-{695BEAAF-3A7B-A2A0-C1D6-C8A00CDE5A92}" dt="2023-12-06T16:05:40.605" v="556"/>
        <pc:sldMkLst>
          <pc:docMk/>
          <pc:sldMk cId="2437602958" sldId="701"/>
        </pc:sldMkLst>
      </pc:sldChg>
      <pc:sldChg chg="add del">
        <pc:chgData name="Alana Rivera" userId="S::arg3669@ads.northwestern.edu::fc8b707a-b7e9-4f2a-8d71-2d76819b7881" providerId="AD" clId="Web-{695BEAAF-3A7B-A2A0-C1D6-C8A00CDE5A92}" dt="2023-12-06T16:05:40.605" v="555"/>
        <pc:sldMkLst>
          <pc:docMk/>
          <pc:sldMk cId="2701760186" sldId="702"/>
        </pc:sldMkLst>
      </pc:sldChg>
      <pc:sldChg chg="del">
        <pc:chgData name="Alana Rivera" userId="S::arg3669@ads.northwestern.edu::fc8b707a-b7e9-4f2a-8d71-2d76819b7881" providerId="AD" clId="Web-{695BEAAF-3A7B-A2A0-C1D6-C8A00CDE5A92}" dt="2023-12-06T14:21:33.907" v="51"/>
        <pc:sldMkLst>
          <pc:docMk/>
          <pc:sldMk cId="790635443" sldId="706"/>
        </pc:sldMkLst>
      </pc:sldChg>
      <pc:sldChg chg="del">
        <pc:chgData name="Alana Rivera" userId="S::arg3669@ads.northwestern.edu::fc8b707a-b7e9-4f2a-8d71-2d76819b7881" providerId="AD" clId="Web-{695BEAAF-3A7B-A2A0-C1D6-C8A00CDE5A92}" dt="2023-12-06T14:42:43.750" v="278"/>
        <pc:sldMkLst>
          <pc:docMk/>
          <pc:sldMk cId="4191050799" sldId="717"/>
        </pc:sldMkLst>
      </pc:sldChg>
      <pc:sldChg chg="del">
        <pc:chgData name="Alana Rivera" userId="S::arg3669@ads.northwestern.edu::fc8b707a-b7e9-4f2a-8d71-2d76819b7881" providerId="AD" clId="Web-{695BEAAF-3A7B-A2A0-C1D6-C8A00CDE5A92}" dt="2023-12-06T14:42:38.906" v="277"/>
        <pc:sldMkLst>
          <pc:docMk/>
          <pc:sldMk cId="920926381" sldId="718"/>
        </pc:sldMkLst>
      </pc:sldChg>
      <pc:sldChg chg="del">
        <pc:chgData name="Alana Rivera" userId="S::arg3669@ads.northwestern.edu::fc8b707a-b7e9-4f2a-8d71-2d76819b7881" providerId="AD" clId="Web-{695BEAAF-3A7B-A2A0-C1D6-C8A00CDE5A92}" dt="2023-12-06T14:59:45.431" v="315"/>
        <pc:sldMkLst>
          <pc:docMk/>
          <pc:sldMk cId="1181451199" sldId="719"/>
        </pc:sldMkLst>
      </pc:sldChg>
      <pc:sldChg chg="del">
        <pc:chgData name="Alana Rivera" userId="S::arg3669@ads.northwestern.edu::fc8b707a-b7e9-4f2a-8d71-2d76819b7881" providerId="AD" clId="Web-{695BEAAF-3A7B-A2A0-C1D6-C8A00CDE5A92}" dt="2023-12-06T14:59:45.400" v="314"/>
        <pc:sldMkLst>
          <pc:docMk/>
          <pc:sldMk cId="102026260" sldId="720"/>
        </pc:sldMkLst>
      </pc:sldChg>
      <pc:sldChg chg="del">
        <pc:chgData name="Alana Rivera" userId="S::arg3669@ads.northwestern.edu::fc8b707a-b7e9-4f2a-8d71-2d76819b7881" providerId="AD" clId="Web-{695BEAAF-3A7B-A2A0-C1D6-C8A00CDE5A92}" dt="2023-12-06T14:59:45.384" v="313"/>
        <pc:sldMkLst>
          <pc:docMk/>
          <pc:sldMk cId="4038851827" sldId="721"/>
        </pc:sldMkLst>
      </pc:sldChg>
      <pc:sldChg chg="del">
        <pc:chgData name="Alana Rivera" userId="S::arg3669@ads.northwestern.edu::fc8b707a-b7e9-4f2a-8d71-2d76819b7881" providerId="AD" clId="Web-{695BEAAF-3A7B-A2A0-C1D6-C8A00CDE5A92}" dt="2023-12-06T14:59:45.259" v="312"/>
        <pc:sldMkLst>
          <pc:docMk/>
          <pc:sldMk cId="166818738" sldId="722"/>
        </pc:sldMkLst>
      </pc:sldChg>
      <pc:sldChg chg="del">
        <pc:chgData name="Alana Rivera" userId="S::arg3669@ads.northwestern.edu::fc8b707a-b7e9-4f2a-8d71-2d76819b7881" providerId="AD" clId="Web-{695BEAAF-3A7B-A2A0-C1D6-C8A00CDE5A92}" dt="2023-12-06T14:59:45.228" v="311"/>
        <pc:sldMkLst>
          <pc:docMk/>
          <pc:sldMk cId="97208790" sldId="723"/>
        </pc:sldMkLst>
      </pc:sldChg>
      <pc:sldChg chg="del">
        <pc:chgData name="Alana Rivera" userId="S::arg3669@ads.northwestern.edu::fc8b707a-b7e9-4f2a-8d71-2d76819b7881" providerId="AD" clId="Web-{695BEAAF-3A7B-A2A0-C1D6-C8A00CDE5A92}" dt="2023-12-06T14:59:45.025" v="310"/>
        <pc:sldMkLst>
          <pc:docMk/>
          <pc:sldMk cId="2422191514" sldId="724"/>
        </pc:sldMkLst>
      </pc:sldChg>
      <pc:sldChg chg="del">
        <pc:chgData name="Alana Rivera" userId="S::arg3669@ads.northwestern.edu::fc8b707a-b7e9-4f2a-8d71-2d76819b7881" providerId="AD" clId="Web-{695BEAAF-3A7B-A2A0-C1D6-C8A00CDE5A92}" dt="2023-12-06T14:59:44.884" v="309"/>
        <pc:sldMkLst>
          <pc:docMk/>
          <pc:sldMk cId="3458386910" sldId="725"/>
        </pc:sldMkLst>
      </pc:sldChg>
      <pc:sldChg chg="del">
        <pc:chgData name="Alana Rivera" userId="S::arg3669@ads.northwestern.edu::fc8b707a-b7e9-4f2a-8d71-2d76819b7881" providerId="AD" clId="Web-{695BEAAF-3A7B-A2A0-C1D6-C8A00CDE5A92}" dt="2023-12-06T14:59:44.853" v="308"/>
        <pc:sldMkLst>
          <pc:docMk/>
          <pc:sldMk cId="1390059426" sldId="726"/>
        </pc:sldMkLst>
      </pc:sldChg>
      <pc:sldChg chg="del">
        <pc:chgData name="Alana Rivera" userId="S::arg3669@ads.northwestern.edu::fc8b707a-b7e9-4f2a-8d71-2d76819b7881" providerId="AD" clId="Web-{695BEAAF-3A7B-A2A0-C1D6-C8A00CDE5A92}" dt="2023-12-06T14:59:44.696" v="307"/>
        <pc:sldMkLst>
          <pc:docMk/>
          <pc:sldMk cId="3339906105" sldId="727"/>
        </pc:sldMkLst>
      </pc:sldChg>
      <pc:sldChg chg="del">
        <pc:chgData name="Alana Rivera" userId="S::arg3669@ads.northwestern.edu::fc8b707a-b7e9-4f2a-8d71-2d76819b7881" providerId="AD" clId="Web-{695BEAAF-3A7B-A2A0-C1D6-C8A00CDE5A92}" dt="2023-12-06T14:59:41.103" v="306"/>
        <pc:sldMkLst>
          <pc:docMk/>
          <pc:sldMk cId="2917591221" sldId="728"/>
        </pc:sldMkLst>
      </pc:sldChg>
      <pc:sldChg chg="del">
        <pc:chgData name="Alana Rivera" userId="S::arg3669@ads.northwestern.edu::fc8b707a-b7e9-4f2a-8d71-2d76819b7881" providerId="AD" clId="Web-{695BEAAF-3A7B-A2A0-C1D6-C8A00CDE5A92}" dt="2023-12-06T14:59:38.712" v="305"/>
        <pc:sldMkLst>
          <pc:docMk/>
          <pc:sldMk cId="3429336150" sldId="729"/>
        </pc:sldMkLst>
      </pc:sldChg>
      <pc:sldChg chg="del">
        <pc:chgData name="Alana Rivera" userId="S::arg3669@ads.northwestern.edu::fc8b707a-b7e9-4f2a-8d71-2d76819b7881" providerId="AD" clId="Web-{695BEAAF-3A7B-A2A0-C1D6-C8A00CDE5A92}" dt="2023-12-06T14:59:38.665" v="304"/>
        <pc:sldMkLst>
          <pc:docMk/>
          <pc:sldMk cId="1617559145" sldId="730"/>
        </pc:sldMkLst>
      </pc:sldChg>
      <pc:sldChg chg="del">
        <pc:chgData name="Alana Rivera" userId="S::arg3669@ads.northwestern.edu::fc8b707a-b7e9-4f2a-8d71-2d76819b7881" providerId="AD" clId="Web-{695BEAAF-3A7B-A2A0-C1D6-C8A00CDE5A92}" dt="2023-12-06T14:59:38.509" v="303"/>
        <pc:sldMkLst>
          <pc:docMk/>
          <pc:sldMk cId="2888392633" sldId="731"/>
        </pc:sldMkLst>
      </pc:sldChg>
      <pc:sldChg chg="del">
        <pc:chgData name="Alana Rivera" userId="S::arg3669@ads.northwestern.edu::fc8b707a-b7e9-4f2a-8d71-2d76819b7881" providerId="AD" clId="Web-{695BEAAF-3A7B-A2A0-C1D6-C8A00CDE5A92}" dt="2023-12-06T14:59:38.462" v="302"/>
        <pc:sldMkLst>
          <pc:docMk/>
          <pc:sldMk cId="1046854343" sldId="732"/>
        </pc:sldMkLst>
      </pc:sldChg>
      <pc:sldChg chg="del">
        <pc:chgData name="Alana Rivera" userId="S::arg3669@ads.northwestern.edu::fc8b707a-b7e9-4f2a-8d71-2d76819b7881" providerId="AD" clId="Web-{695BEAAF-3A7B-A2A0-C1D6-C8A00CDE5A92}" dt="2023-12-06T14:59:38.431" v="301"/>
        <pc:sldMkLst>
          <pc:docMk/>
          <pc:sldMk cId="1800188643" sldId="733"/>
        </pc:sldMkLst>
      </pc:sldChg>
      <pc:sldChg chg="del">
        <pc:chgData name="Alana Rivera" userId="S::arg3669@ads.northwestern.edu::fc8b707a-b7e9-4f2a-8d71-2d76819b7881" providerId="AD" clId="Web-{695BEAAF-3A7B-A2A0-C1D6-C8A00CDE5A92}" dt="2023-12-06T14:59:38.274" v="300"/>
        <pc:sldMkLst>
          <pc:docMk/>
          <pc:sldMk cId="2965389356" sldId="734"/>
        </pc:sldMkLst>
      </pc:sldChg>
      <pc:sldChg chg="del">
        <pc:chgData name="Alana Rivera" userId="S::arg3669@ads.northwestern.edu::fc8b707a-b7e9-4f2a-8d71-2d76819b7881" providerId="AD" clId="Web-{695BEAAF-3A7B-A2A0-C1D6-C8A00CDE5A92}" dt="2023-12-06T14:59:38.040" v="298"/>
        <pc:sldMkLst>
          <pc:docMk/>
          <pc:sldMk cId="2012107243" sldId="735"/>
        </pc:sldMkLst>
      </pc:sldChg>
      <pc:sldChg chg="del">
        <pc:chgData name="Alana Rivera" userId="S::arg3669@ads.northwestern.edu::fc8b707a-b7e9-4f2a-8d71-2d76819b7881" providerId="AD" clId="Web-{695BEAAF-3A7B-A2A0-C1D6-C8A00CDE5A92}" dt="2023-12-06T14:59:37.993" v="297"/>
        <pc:sldMkLst>
          <pc:docMk/>
          <pc:sldMk cId="1141813547" sldId="737"/>
        </pc:sldMkLst>
      </pc:sldChg>
      <pc:sldChg chg="del">
        <pc:chgData name="Alana Rivera" userId="S::arg3669@ads.northwestern.edu::fc8b707a-b7e9-4f2a-8d71-2d76819b7881" providerId="AD" clId="Web-{695BEAAF-3A7B-A2A0-C1D6-C8A00CDE5A92}" dt="2023-12-06T14:43:01.797" v="281"/>
        <pc:sldMkLst>
          <pc:docMk/>
          <pc:sldMk cId="3838522428" sldId="741"/>
        </pc:sldMkLst>
      </pc:sldChg>
      <pc:sldChg chg="del">
        <pc:chgData name="Alana Rivera" userId="S::arg3669@ads.northwestern.edu::fc8b707a-b7e9-4f2a-8d71-2d76819b7881" providerId="AD" clId="Web-{695BEAAF-3A7B-A2A0-C1D6-C8A00CDE5A92}" dt="2023-12-06T14:42:50.656" v="279"/>
        <pc:sldMkLst>
          <pc:docMk/>
          <pc:sldMk cId="2759565514" sldId="742"/>
        </pc:sldMkLst>
      </pc:sldChg>
      <pc:sldChg chg="del">
        <pc:chgData name="Alana Rivera" userId="S::arg3669@ads.northwestern.edu::fc8b707a-b7e9-4f2a-8d71-2d76819b7881" providerId="AD" clId="Web-{695BEAAF-3A7B-A2A0-C1D6-C8A00CDE5A92}" dt="2023-12-06T14:42:55.235" v="280"/>
        <pc:sldMkLst>
          <pc:docMk/>
          <pc:sldMk cId="1077647041" sldId="743"/>
        </pc:sldMkLst>
      </pc:sldChg>
      <pc:sldChg chg="add del ord">
        <pc:chgData name="Alana Rivera" userId="S::arg3669@ads.northwestern.edu::fc8b707a-b7e9-4f2a-8d71-2d76819b7881" providerId="AD" clId="Web-{695BEAAF-3A7B-A2A0-C1D6-C8A00CDE5A92}" dt="2023-12-06T16:05:43.480" v="559"/>
        <pc:sldMkLst>
          <pc:docMk/>
          <pc:sldMk cId="2424722352" sldId="744"/>
        </pc:sldMkLst>
      </pc:sldChg>
      <pc:sldChg chg="del">
        <pc:chgData name="Alana Rivera" userId="S::arg3669@ads.northwestern.edu::fc8b707a-b7e9-4f2a-8d71-2d76819b7881" providerId="AD" clId="Web-{695BEAAF-3A7B-A2A0-C1D6-C8A00CDE5A92}" dt="2023-12-06T14:21:31.782" v="50"/>
        <pc:sldMkLst>
          <pc:docMk/>
          <pc:sldMk cId="1758158855" sldId="747"/>
        </pc:sldMkLst>
      </pc:sldChg>
      <pc:sldChg chg="del">
        <pc:chgData name="Alana Rivera" userId="S::arg3669@ads.northwestern.edu::fc8b707a-b7e9-4f2a-8d71-2d76819b7881" providerId="AD" clId="Web-{695BEAAF-3A7B-A2A0-C1D6-C8A00CDE5A92}" dt="2023-12-06T14:59:38.228" v="299"/>
        <pc:sldMkLst>
          <pc:docMk/>
          <pc:sldMk cId="2760953721" sldId="749"/>
        </pc:sldMkLst>
      </pc:sldChg>
      <pc:sldChg chg="addSp delSp modSp add mod ord replId setBg">
        <pc:chgData name="Alana Rivera" userId="S::arg3669@ads.northwestern.edu::fc8b707a-b7e9-4f2a-8d71-2d76819b7881" providerId="AD" clId="Web-{695BEAAF-3A7B-A2A0-C1D6-C8A00CDE5A92}" dt="2023-12-06T15:33:28.126" v="332"/>
        <pc:sldMkLst>
          <pc:docMk/>
          <pc:sldMk cId="1348894630" sldId="751"/>
        </pc:sldMkLst>
        <pc:spChg chg="mod">
          <ac:chgData name="Alana Rivera" userId="S::arg3669@ads.northwestern.edu::fc8b707a-b7e9-4f2a-8d71-2d76819b7881" providerId="AD" clId="Web-{695BEAAF-3A7B-A2A0-C1D6-C8A00CDE5A92}" dt="2023-12-06T15:33:22.642" v="330" actId="20577"/>
          <ac:spMkLst>
            <pc:docMk/>
            <pc:sldMk cId="1348894630" sldId="751"/>
            <ac:spMk id="2" creationId="{2DE9407A-4283-B111-345C-31D89DFF03A2}"/>
          </ac:spMkLst>
        </pc:spChg>
        <pc:spChg chg="del mod">
          <ac:chgData name="Alana Rivera" userId="S::arg3669@ads.northwestern.edu::fc8b707a-b7e9-4f2a-8d71-2d76819b7881" providerId="AD" clId="Web-{695BEAAF-3A7B-A2A0-C1D6-C8A00CDE5A92}" dt="2023-12-06T14:22:24.736" v="56"/>
          <ac:spMkLst>
            <pc:docMk/>
            <pc:sldMk cId="1348894630" sldId="751"/>
            <ac:spMk id="3" creationId="{7D25E3C3-3F87-0EF1-E88A-5A092D255913}"/>
          </ac:spMkLst>
        </pc:spChg>
        <pc:spChg chg="add">
          <ac:chgData name="Alana Rivera" userId="S::arg3669@ads.northwestern.edu::fc8b707a-b7e9-4f2a-8d71-2d76819b7881" providerId="AD" clId="Web-{695BEAAF-3A7B-A2A0-C1D6-C8A00CDE5A92}" dt="2023-12-06T14:22:54.643" v="60"/>
          <ac:spMkLst>
            <pc:docMk/>
            <pc:sldMk cId="1348894630" sldId="751"/>
            <ac:spMk id="7" creationId="{FFD48BC7-DC40-47DE-87EE-9F4B6ECB9ABB}"/>
          </ac:spMkLst>
        </pc:spChg>
        <pc:spChg chg="add">
          <ac:chgData name="Alana Rivera" userId="S::arg3669@ads.northwestern.edu::fc8b707a-b7e9-4f2a-8d71-2d76819b7881" providerId="AD" clId="Web-{695BEAAF-3A7B-A2A0-C1D6-C8A00CDE5A92}" dt="2023-12-06T14:22:54.643" v="60"/>
          <ac:spMkLst>
            <pc:docMk/>
            <pc:sldMk cId="1348894630" sldId="751"/>
            <ac:spMk id="9" creationId="{E502BBC7-2C76-46F3-BC24-5985BC13DB88}"/>
          </ac:spMkLst>
        </pc:spChg>
        <pc:spChg chg="add">
          <ac:chgData name="Alana Rivera" userId="S::arg3669@ads.northwestern.edu::fc8b707a-b7e9-4f2a-8d71-2d76819b7881" providerId="AD" clId="Web-{695BEAAF-3A7B-A2A0-C1D6-C8A00CDE5A92}" dt="2023-12-06T14:22:54.643" v="60"/>
          <ac:spMkLst>
            <pc:docMk/>
            <pc:sldMk cId="1348894630" sldId="751"/>
            <ac:spMk id="11" creationId="{C7F28D52-2A5F-4D23-81AE-7CB8B591C7AF}"/>
          </ac:spMkLst>
        </pc:spChg>
        <pc:spChg chg="add">
          <ac:chgData name="Alana Rivera" userId="S::arg3669@ads.northwestern.edu::fc8b707a-b7e9-4f2a-8d71-2d76819b7881" providerId="AD" clId="Web-{695BEAAF-3A7B-A2A0-C1D6-C8A00CDE5A92}" dt="2023-12-06T14:22:54.643" v="60"/>
          <ac:spMkLst>
            <pc:docMk/>
            <pc:sldMk cId="1348894630" sldId="751"/>
            <ac:spMk id="13" creationId="{3629484E-3792-4B3D-89AD-7C8A1ED0E0D4}"/>
          </ac:spMkLst>
        </pc:spChg>
      </pc:sldChg>
      <pc:sldChg chg="addSp delSp modSp new mod setBg modClrScheme chgLayout">
        <pc:chgData name="Alana Rivera" userId="S::arg3669@ads.northwestern.edu::fc8b707a-b7e9-4f2a-8d71-2d76819b7881" providerId="AD" clId="Web-{695BEAAF-3A7B-A2A0-C1D6-C8A00CDE5A92}" dt="2023-12-06T14:21:21.969" v="47" actId="14100"/>
        <pc:sldMkLst>
          <pc:docMk/>
          <pc:sldMk cId="3968927565" sldId="752"/>
        </pc:sldMkLst>
        <pc:spChg chg="mod ord">
          <ac:chgData name="Alana Rivera" userId="S::arg3669@ads.northwestern.edu::fc8b707a-b7e9-4f2a-8d71-2d76819b7881" providerId="AD" clId="Web-{695BEAAF-3A7B-A2A0-C1D6-C8A00CDE5A92}" dt="2023-12-06T14:21:21.969" v="47" actId="14100"/>
          <ac:spMkLst>
            <pc:docMk/>
            <pc:sldMk cId="3968927565" sldId="752"/>
            <ac:spMk id="2" creationId="{806359C8-F43E-21AB-0B9F-BC7EB28D9B4C}"/>
          </ac:spMkLst>
        </pc:spChg>
        <pc:spChg chg="mod ord">
          <ac:chgData name="Alana Rivera" userId="S::arg3669@ads.northwestern.edu::fc8b707a-b7e9-4f2a-8d71-2d76819b7881" providerId="AD" clId="Web-{695BEAAF-3A7B-A2A0-C1D6-C8A00CDE5A92}" dt="2023-12-06T14:21:11.797" v="45" actId="20577"/>
          <ac:spMkLst>
            <pc:docMk/>
            <pc:sldMk cId="3968927565" sldId="752"/>
            <ac:spMk id="3" creationId="{4796E78C-7FE0-EEB2-D5C4-7DB5D69CA7B7}"/>
          </ac:spMkLst>
        </pc:spChg>
        <pc:spChg chg="add del">
          <ac:chgData name="Alana Rivera" userId="S::arg3669@ads.northwestern.edu::fc8b707a-b7e9-4f2a-8d71-2d76819b7881" providerId="AD" clId="Web-{695BEAAF-3A7B-A2A0-C1D6-C8A00CDE5A92}" dt="2023-12-06T14:20:50.406" v="41"/>
          <ac:spMkLst>
            <pc:docMk/>
            <pc:sldMk cId="3968927565" sldId="752"/>
            <ac:spMk id="9" creationId="{9F7D5CDA-D291-4307-BF55-1381FED29634}"/>
          </ac:spMkLst>
        </pc:spChg>
        <pc:spChg chg="add del">
          <ac:chgData name="Alana Rivera" userId="S::arg3669@ads.northwestern.edu::fc8b707a-b7e9-4f2a-8d71-2d76819b7881" providerId="AD" clId="Web-{695BEAAF-3A7B-A2A0-C1D6-C8A00CDE5A92}" dt="2023-12-06T14:20:50.406" v="41"/>
          <ac:spMkLst>
            <pc:docMk/>
            <pc:sldMk cId="3968927565" sldId="752"/>
            <ac:spMk id="11" creationId="{59B296B9-C5A5-4E4F-9B60-C907B5F1466C}"/>
          </ac:spMkLst>
        </pc:spChg>
        <pc:spChg chg="add del">
          <ac:chgData name="Alana Rivera" userId="S::arg3669@ads.northwestern.edu::fc8b707a-b7e9-4f2a-8d71-2d76819b7881" providerId="AD" clId="Web-{695BEAAF-3A7B-A2A0-C1D6-C8A00CDE5A92}" dt="2023-12-06T14:20:50.406" v="41"/>
          <ac:spMkLst>
            <pc:docMk/>
            <pc:sldMk cId="3968927565" sldId="752"/>
            <ac:spMk id="13" creationId="{D0300FD3-5AF1-6305-15FA-9078072672E2}"/>
          </ac:spMkLst>
        </pc:spChg>
        <pc:picChg chg="add mod ord">
          <ac:chgData name="Alana Rivera" userId="S::arg3669@ads.northwestern.edu::fc8b707a-b7e9-4f2a-8d71-2d76819b7881" providerId="AD" clId="Web-{695BEAAF-3A7B-A2A0-C1D6-C8A00CDE5A92}" dt="2023-12-06T14:20:50.406" v="41"/>
          <ac:picMkLst>
            <pc:docMk/>
            <pc:sldMk cId="3968927565" sldId="752"/>
            <ac:picMk id="5" creationId="{85183941-79CA-CE78-CFE9-5744E60880A2}"/>
          </ac:picMkLst>
        </pc:picChg>
      </pc:sldChg>
      <pc:sldChg chg="addSp delSp modSp new mod setBg">
        <pc:chgData name="Alana Rivera" userId="S::arg3669@ads.northwestern.edu::fc8b707a-b7e9-4f2a-8d71-2d76819b7881" providerId="AD" clId="Web-{695BEAAF-3A7B-A2A0-C1D6-C8A00CDE5A92}" dt="2023-12-06T14:28:19.776" v="97" actId="20577"/>
        <pc:sldMkLst>
          <pc:docMk/>
          <pc:sldMk cId="3314136073" sldId="753"/>
        </pc:sldMkLst>
        <pc:spChg chg="mod">
          <ac:chgData name="Alana Rivera" userId="S::arg3669@ads.northwestern.edu::fc8b707a-b7e9-4f2a-8d71-2d76819b7881" providerId="AD" clId="Web-{695BEAAF-3A7B-A2A0-C1D6-C8A00CDE5A92}" dt="2023-12-06T14:27:03.962" v="88"/>
          <ac:spMkLst>
            <pc:docMk/>
            <pc:sldMk cId="3314136073" sldId="753"/>
            <ac:spMk id="2" creationId="{38A2F4A8-2A1B-68A4-907D-89715DF43267}"/>
          </ac:spMkLst>
        </pc:spChg>
        <pc:spChg chg="add del mod">
          <ac:chgData name="Alana Rivera" userId="S::arg3669@ads.northwestern.edu::fc8b707a-b7e9-4f2a-8d71-2d76819b7881" providerId="AD" clId="Web-{695BEAAF-3A7B-A2A0-C1D6-C8A00CDE5A92}" dt="2023-12-06T14:26:40.352" v="86"/>
          <ac:spMkLst>
            <pc:docMk/>
            <pc:sldMk cId="3314136073" sldId="753"/>
            <ac:spMk id="3" creationId="{18FF72D6-30BF-988C-772C-E4CECEC3BC59}"/>
          </ac:spMkLst>
        </pc:spChg>
        <pc:spChg chg="mod ord">
          <ac:chgData name="Alana Rivera" userId="S::arg3669@ads.northwestern.edu::fc8b707a-b7e9-4f2a-8d71-2d76819b7881" providerId="AD" clId="Web-{695BEAAF-3A7B-A2A0-C1D6-C8A00CDE5A92}" dt="2023-12-06T14:27:03.962" v="88"/>
          <ac:spMkLst>
            <pc:docMk/>
            <pc:sldMk cId="3314136073" sldId="753"/>
            <ac:spMk id="4" creationId="{EEA315A7-B007-AB15-0F71-25AC96BBA8D2}"/>
          </ac:spMkLst>
        </pc:spChg>
        <pc:spChg chg="mod">
          <ac:chgData name="Alana Rivera" userId="S::arg3669@ads.northwestern.edu::fc8b707a-b7e9-4f2a-8d71-2d76819b7881" providerId="AD" clId="Web-{695BEAAF-3A7B-A2A0-C1D6-C8A00CDE5A92}" dt="2023-12-06T14:27:03.962" v="88"/>
          <ac:spMkLst>
            <pc:docMk/>
            <pc:sldMk cId="3314136073" sldId="753"/>
            <ac:spMk id="5" creationId="{6B9E88C6-ED8B-9847-E83F-7CDCFDBCA90B}"/>
          </ac:spMkLst>
        </pc:spChg>
        <pc:spChg chg="add del">
          <ac:chgData name="Alana Rivera" userId="S::arg3669@ads.northwestern.edu::fc8b707a-b7e9-4f2a-8d71-2d76819b7881" providerId="AD" clId="Web-{695BEAAF-3A7B-A2A0-C1D6-C8A00CDE5A92}" dt="2023-12-06T14:26:40.320" v="85"/>
          <ac:spMkLst>
            <pc:docMk/>
            <pc:sldMk cId="3314136073" sldId="753"/>
            <ac:spMk id="11" creationId="{BACC6370-2D7E-4714-9D71-7542949D7D5D}"/>
          </ac:spMkLst>
        </pc:spChg>
        <pc:spChg chg="add del">
          <ac:chgData name="Alana Rivera" userId="S::arg3669@ads.northwestern.edu::fc8b707a-b7e9-4f2a-8d71-2d76819b7881" providerId="AD" clId="Web-{695BEAAF-3A7B-A2A0-C1D6-C8A00CDE5A92}" dt="2023-12-06T14:26:40.320" v="85"/>
          <ac:spMkLst>
            <pc:docMk/>
            <pc:sldMk cId="3314136073" sldId="753"/>
            <ac:spMk id="13" creationId="{F68B3F68-107C-434F-AA38-110D5EA91B85}"/>
          </ac:spMkLst>
        </pc:spChg>
        <pc:spChg chg="add del">
          <ac:chgData name="Alana Rivera" userId="S::arg3669@ads.northwestern.edu::fc8b707a-b7e9-4f2a-8d71-2d76819b7881" providerId="AD" clId="Web-{695BEAAF-3A7B-A2A0-C1D6-C8A00CDE5A92}" dt="2023-12-06T14:26:40.320" v="85"/>
          <ac:spMkLst>
            <pc:docMk/>
            <pc:sldMk cId="3314136073" sldId="753"/>
            <ac:spMk id="15" creationId="{AAD0DBB9-1A4B-4391-81D4-CB19F9AB918A}"/>
          </ac:spMkLst>
        </pc:spChg>
        <pc:spChg chg="add del">
          <ac:chgData name="Alana Rivera" userId="S::arg3669@ads.northwestern.edu::fc8b707a-b7e9-4f2a-8d71-2d76819b7881" providerId="AD" clId="Web-{695BEAAF-3A7B-A2A0-C1D6-C8A00CDE5A92}" dt="2023-12-06T14:26:40.320" v="85"/>
          <ac:spMkLst>
            <pc:docMk/>
            <pc:sldMk cId="3314136073" sldId="753"/>
            <ac:spMk id="17" creationId="{063BBA22-50EA-4C4D-BE05-F1CE4E63AA56}"/>
          </ac:spMkLst>
        </pc:spChg>
        <pc:spChg chg="add del">
          <ac:chgData name="Alana Rivera" userId="S::arg3669@ads.northwestern.edu::fc8b707a-b7e9-4f2a-8d71-2d76819b7881" providerId="AD" clId="Web-{695BEAAF-3A7B-A2A0-C1D6-C8A00CDE5A92}" dt="2023-12-06T14:27:03.962" v="88"/>
          <ac:spMkLst>
            <pc:docMk/>
            <pc:sldMk cId="3314136073" sldId="753"/>
            <ac:spMk id="18" creationId="{D5B0017B-2ECA-49AF-B397-DC140825DF8D}"/>
          </ac:spMkLst>
        </pc:spChg>
        <pc:spChg chg="add del">
          <ac:chgData name="Alana Rivera" userId="S::arg3669@ads.northwestern.edu::fc8b707a-b7e9-4f2a-8d71-2d76819b7881" providerId="AD" clId="Web-{695BEAAF-3A7B-A2A0-C1D6-C8A00CDE5A92}" dt="2023-12-06T14:27:03.962" v="88"/>
          <ac:spMkLst>
            <pc:docMk/>
            <pc:sldMk cId="3314136073" sldId="753"/>
            <ac:spMk id="19" creationId="{56E9B3E6-E277-4D68-BA48-9CB43FFBD6E2}"/>
          </ac:spMkLst>
        </pc:spChg>
        <pc:spChg chg="add">
          <ac:chgData name="Alana Rivera" userId="S::arg3669@ads.northwestern.edu::fc8b707a-b7e9-4f2a-8d71-2d76819b7881" providerId="AD" clId="Web-{695BEAAF-3A7B-A2A0-C1D6-C8A00CDE5A92}" dt="2023-12-06T14:27:03.962" v="88"/>
          <ac:spMkLst>
            <pc:docMk/>
            <pc:sldMk cId="3314136073" sldId="753"/>
            <ac:spMk id="28" creationId="{955A2079-FA98-4876-80F0-72364A7D2EA4}"/>
          </ac:spMkLst>
        </pc:spChg>
        <pc:grpChg chg="add del">
          <ac:chgData name="Alana Rivera" userId="S::arg3669@ads.northwestern.edu::fc8b707a-b7e9-4f2a-8d71-2d76819b7881" providerId="AD" clId="Web-{695BEAAF-3A7B-A2A0-C1D6-C8A00CDE5A92}" dt="2023-12-06T14:27:03.962" v="88"/>
          <ac:grpSpMkLst>
            <pc:docMk/>
            <pc:sldMk cId="3314136073" sldId="753"/>
            <ac:grpSpMk id="21" creationId="{AE1C45F0-260A-458C-96ED-C1F6D2151219}"/>
          </ac:grpSpMkLst>
        </pc:grpChg>
        <pc:graphicFrameChg chg="add del">
          <ac:chgData name="Alana Rivera" userId="S::arg3669@ads.northwestern.edu::fc8b707a-b7e9-4f2a-8d71-2d76819b7881" providerId="AD" clId="Web-{695BEAAF-3A7B-A2A0-C1D6-C8A00CDE5A92}" dt="2023-12-06T14:26:40.320" v="85"/>
          <ac:graphicFrameMkLst>
            <pc:docMk/>
            <pc:sldMk cId="3314136073" sldId="753"/>
            <ac:graphicFrameMk id="7" creationId="{36BF12A9-5F31-D018-6095-1C6671CEC2B2}"/>
          </ac:graphicFrameMkLst>
        </pc:graphicFrameChg>
        <pc:graphicFrameChg chg="add mod modGraphic">
          <ac:chgData name="Alana Rivera" userId="S::arg3669@ads.northwestern.edu::fc8b707a-b7e9-4f2a-8d71-2d76819b7881" providerId="AD" clId="Web-{695BEAAF-3A7B-A2A0-C1D6-C8A00CDE5A92}" dt="2023-12-06T14:28:19.776" v="97" actId="20577"/>
          <ac:graphicFrameMkLst>
            <pc:docMk/>
            <pc:sldMk cId="3314136073" sldId="753"/>
            <ac:graphicFrameMk id="23" creationId="{58252E09-F409-31E3-A13D-117EED02D797}"/>
          </ac:graphicFrameMkLst>
        </pc:graphicFrameChg>
        <pc:cxnChg chg="add del">
          <ac:chgData name="Alana Rivera" userId="S::arg3669@ads.northwestern.edu::fc8b707a-b7e9-4f2a-8d71-2d76819b7881" providerId="AD" clId="Web-{695BEAAF-3A7B-A2A0-C1D6-C8A00CDE5A92}" dt="2023-12-06T14:27:03.962" v="88"/>
          <ac:cxnSpMkLst>
            <pc:docMk/>
            <pc:sldMk cId="3314136073" sldId="753"/>
            <ac:cxnSpMk id="20" creationId="{6CF1BAF6-AD41-4082-B212-8A1F9A2E8779}"/>
          </ac:cxnSpMkLst>
        </pc:cxnChg>
      </pc:sldChg>
      <pc:sldChg chg="new del">
        <pc:chgData name="Alana Rivera" userId="S::arg3669@ads.northwestern.edu::fc8b707a-b7e9-4f2a-8d71-2d76819b7881" providerId="AD" clId="Web-{695BEAAF-3A7B-A2A0-C1D6-C8A00CDE5A92}" dt="2023-12-06T14:30:17.763" v="104"/>
        <pc:sldMkLst>
          <pc:docMk/>
          <pc:sldMk cId="3911842942" sldId="754"/>
        </pc:sldMkLst>
      </pc:sldChg>
      <pc:sldChg chg="addSp delSp modSp new">
        <pc:chgData name="Alana Rivera" userId="S::arg3669@ads.northwestern.edu::fc8b707a-b7e9-4f2a-8d71-2d76819b7881" providerId="AD" clId="Web-{695BEAAF-3A7B-A2A0-C1D6-C8A00CDE5A92}" dt="2023-12-06T14:40:33.856" v="275" actId="1076"/>
        <pc:sldMkLst>
          <pc:docMk/>
          <pc:sldMk cId="565147769" sldId="755"/>
        </pc:sldMkLst>
        <pc:spChg chg="mod">
          <ac:chgData name="Alana Rivera" userId="S::arg3669@ads.northwestern.edu::fc8b707a-b7e9-4f2a-8d71-2d76819b7881" providerId="AD" clId="Web-{695BEAAF-3A7B-A2A0-C1D6-C8A00CDE5A92}" dt="2023-12-06T14:30:11.872" v="103" actId="20577"/>
          <ac:spMkLst>
            <pc:docMk/>
            <pc:sldMk cId="565147769" sldId="755"/>
            <ac:spMk id="2" creationId="{677F9F0F-427C-67B7-52A5-39AA537AA37B}"/>
          </ac:spMkLst>
        </pc:spChg>
        <pc:spChg chg="del mod">
          <ac:chgData name="Alana Rivera" userId="S::arg3669@ads.northwestern.edu::fc8b707a-b7e9-4f2a-8d71-2d76819b7881" providerId="AD" clId="Web-{695BEAAF-3A7B-A2A0-C1D6-C8A00CDE5A92}" dt="2023-12-06T14:38:38.697" v="251"/>
          <ac:spMkLst>
            <pc:docMk/>
            <pc:sldMk cId="565147769" sldId="755"/>
            <ac:spMk id="3" creationId="{51D43069-FF79-8A65-88C1-D8655F2B46D0}"/>
          </ac:spMkLst>
        </pc:spChg>
        <pc:spChg chg="add mod">
          <ac:chgData name="Alana Rivera" userId="S::arg3669@ads.northwestern.edu::fc8b707a-b7e9-4f2a-8d71-2d76819b7881" providerId="AD" clId="Web-{695BEAAF-3A7B-A2A0-C1D6-C8A00CDE5A92}" dt="2023-12-06T14:39:45.636" v="262" actId="1076"/>
          <ac:spMkLst>
            <pc:docMk/>
            <pc:sldMk cId="565147769" sldId="755"/>
            <ac:spMk id="6" creationId="{FE4EBB49-A66F-5372-F897-2BFD8BEEE7CD}"/>
          </ac:spMkLst>
        </pc:spChg>
        <pc:spChg chg="add mod">
          <ac:chgData name="Alana Rivera" userId="S::arg3669@ads.northwestern.edu::fc8b707a-b7e9-4f2a-8d71-2d76819b7881" providerId="AD" clId="Web-{695BEAAF-3A7B-A2A0-C1D6-C8A00CDE5A92}" dt="2023-12-06T14:40:33.856" v="275" actId="1076"/>
          <ac:spMkLst>
            <pc:docMk/>
            <pc:sldMk cId="565147769" sldId="755"/>
            <ac:spMk id="7" creationId="{D68A9D18-0D03-37DC-D24A-17C6751709B7}"/>
          </ac:spMkLst>
        </pc:spChg>
        <pc:spChg chg="add mod">
          <ac:chgData name="Alana Rivera" userId="S::arg3669@ads.northwestern.edu::fc8b707a-b7e9-4f2a-8d71-2d76819b7881" providerId="AD" clId="Web-{695BEAAF-3A7B-A2A0-C1D6-C8A00CDE5A92}" dt="2023-12-06T14:39:24.745" v="258" actId="1076"/>
          <ac:spMkLst>
            <pc:docMk/>
            <pc:sldMk cId="565147769" sldId="755"/>
            <ac:spMk id="8" creationId="{BF1D0AF5-9B69-9C16-3B17-4A9FBC1FE6B2}"/>
          </ac:spMkLst>
        </pc:spChg>
      </pc:sldChg>
      <pc:sldChg chg="addSp delSp modSp new mod setBg">
        <pc:chgData name="Alana Rivera" userId="S::arg3669@ads.northwestern.edu::fc8b707a-b7e9-4f2a-8d71-2d76819b7881" providerId="AD" clId="Web-{695BEAAF-3A7B-A2A0-C1D6-C8A00CDE5A92}" dt="2023-12-06T16:18:02.876" v="619" actId="20577"/>
        <pc:sldMkLst>
          <pc:docMk/>
          <pc:sldMk cId="2682750070" sldId="756"/>
        </pc:sldMkLst>
        <pc:spChg chg="mod">
          <ac:chgData name="Alana Rivera" userId="S::arg3669@ads.northwestern.edu::fc8b707a-b7e9-4f2a-8d71-2d76819b7881" providerId="AD" clId="Web-{695BEAAF-3A7B-A2A0-C1D6-C8A00CDE5A92}" dt="2023-12-06T15:52:10.487" v="402"/>
          <ac:spMkLst>
            <pc:docMk/>
            <pc:sldMk cId="2682750070" sldId="756"/>
            <ac:spMk id="2" creationId="{D6014FE8-DB3B-1FEE-B5A3-57CCB364F877}"/>
          </ac:spMkLst>
        </pc:spChg>
        <pc:spChg chg="mod">
          <ac:chgData name="Alana Rivera" userId="S::arg3669@ads.northwestern.edu::fc8b707a-b7e9-4f2a-8d71-2d76819b7881" providerId="AD" clId="Web-{695BEAAF-3A7B-A2A0-C1D6-C8A00CDE5A92}" dt="2023-12-06T15:53:04.880" v="410" actId="20577"/>
          <ac:spMkLst>
            <pc:docMk/>
            <pc:sldMk cId="2682750070" sldId="756"/>
            <ac:spMk id="3" creationId="{AE32DA6A-F062-048E-8DFA-2E4FA1B6D8B6}"/>
          </ac:spMkLst>
        </pc:spChg>
        <pc:spChg chg="del mod">
          <ac:chgData name="Alana Rivera" userId="S::arg3669@ads.northwestern.edu::fc8b707a-b7e9-4f2a-8d71-2d76819b7881" providerId="AD" clId="Web-{695BEAAF-3A7B-A2A0-C1D6-C8A00CDE5A92}" dt="2023-12-06T15:52:19.050" v="404"/>
          <ac:spMkLst>
            <pc:docMk/>
            <pc:sldMk cId="2682750070" sldId="756"/>
            <ac:spMk id="4" creationId="{6D451B79-33AA-ECFA-DD50-1CD1701AC3D7}"/>
          </ac:spMkLst>
        </pc:spChg>
        <pc:spChg chg="del mod">
          <ac:chgData name="Alana Rivera" userId="S::arg3669@ads.northwestern.edu::fc8b707a-b7e9-4f2a-8d71-2d76819b7881" providerId="AD" clId="Web-{695BEAAF-3A7B-A2A0-C1D6-C8A00CDE5A92}" dt="2023-12-06T16:16:05.810" v="605"/>
          <ac:spMkLst>
            <pc:docMk/>
            <pc:sldMk cId="2682750070" sldId="756"/>
            <ac:spMk id="5" creationId="{4982711B-DE02-7B72-97CA-8B649868DDAD}"/>
          </ac:spMkLst>
        </pc:spChg>
        <pc:spChg chg="add del mod">
          <ac:chgData name="Alana Rivera" userId="S::arg3669@ads.northwestern.edu::fc8b707a-b7e9-4f2a-8d71-2d76819b7881" providerId="AD" clId="Web-{695BEAAF-3A7B-A2A0-C1D6-C8A00CDE5A92}" dt="2023-12-06T15:45:39.304" v="360"/>
          <ac:spMkLst>
            <pc:docMk/>
            <pc:sldMk cId="2682750070" sldId="756"/>
            <ac:spMk id="6" creationId="{67078672-2EFD-804E-0162-FF7F39EE20EF}"/>
          </ac:spMkLst>
        </pc:spChg>
        <pc:spChg chg="add del">
          <ac:chgData name="Alana Rivera" userId="S::arg3669@ads.northwestern.edu::fc8b707a-b7e9-4f2a-8d71-2d76819b7881" providerId="AD" clId="Web-{695BEAAF-3A7B-A2A0-C1D6-C8A00CDE5A92}" dt="2023-12-06T15:46:06.180" v="362"/>
          <ac:spMkLst>
            <pc:docMk/>
            <pc:sldMk cId="2682750070" sldId="756"/>
            <ac:spMk id="7" creationId="{3B7B9432-4E40-384D-0200-0EEA3E81680F}"/>
          </ac:spMkLst>
        </pc:spChg>
        <pc:spChg chg="add mod">
          <ac:chgData name="Alana Rivera" userId="S::arg3669@ads.northwestern.edu::fc8b707a-b7e9-4f2a-8d71-2d76819b7881" providerId="AD" clId="Web-{695BEAAF-3A7B-A2A0-C1D6-C8A00CDE5A92}" dt="2023-12-06T16:18:02.876" v="619" actId="20577"/>
          <ac:spMkLst>
            <pc:docMk/>
            <pc:sldMk cId="2682750070" sldId="756"/>
            <ac:spMk id="8" creationId="{5CCC84C0-5FD0-9A5C-9052-E36422861F70}"/>
          </ac:spMkLst>
        </pc:spChg>
        <pc:spChg chg="add mod">
          <ac:chgData name="Alana Rivera" userId="S::arg3669@ads.northwestern.edu::fc8b707a-b7e9-4f2a-8d71-2d76819b7881" providerId="AD" clId="Web-{695BEAAF-3A7B-A2A0-C1D6-C8A00CDE5A92}" dt="2023-12-06T16:17:53.032" v="618" actId="20577"/>
          <ac:spMkLst>
            <pc:docMk/>
            <pc:sldMk cId="2682750070" sldId="756"/>
            <ac:spMk id="9" creationId="{CFC17A73-E501-F3C8-23A5-1751C5930EA2}"/>
          </ac:spMkLst>
        </pc:spChg>
        <pc:spChg chg="add">
          <ac:chgData name="Alana Rivera" userId="S::arg3669@ads.northwestern.edu::fc8b707a-b7e9-4f2a-8d71-2d76819b7881" providerId="AD" clId="Web-{695BEAAF-3A7B-A2A0-C1D6-C8A00CDE5A92}" dt="2023-12-06T15:52:10.487" v="402"/>
          <ac:spMkLst>
            <pc:docMk/>
            <pc:sldMk cId="2682750070" sldId="756"/>
            <ac:spMk id="14" creationId="{6D1A2CED-DA9B-4CCF-8215-CFC65FE71603}"/>
          </ac:spMkLst>
        </pc:spChg>
        <pc:spChg chg="add">
          <ac:chgData name="Alana Rivera" userId="S::arg3669@ads.northwestern.edu::fc8b707a-b7e9-4f2a-8d71-2d76819b7881" providerId="AD" clId="Web-{695BEAAF-3A7B-A2A0-C1D6-C8A00CDE5A92}" dt="2023-12-06T15:52:10.487" v="402"/>
          <ac:spMkLst>
            <pc:docMk/>
            <pc:sldMk cId="2682750070" sldId="756"/>
            <ac:spMk id="16" creationId="{562DFC44-A40C-4573-9230-B3EDB3EC8EEB}"/>
          </ac:spMkLst>
        </pc:spChg>
        <pc:spChg chg="add">
          <ac:chgData name="Alana Rivera" userId="S::arg3669@ads.northwestern.edu::fc8b707a-b7e9-4f2a-8d71-2d76819b7881" providerId="AD" clId="Web-{695BEAAF-3A7B-A2A0-C1D6-C8A00CDE5A92}" dt="2023-12-06T15:52:10.487" v="402"/>
          <ac:spMkLst>
            <pc:docMk/>
            <pc:sldMk cId="2682750070" sldId="756"/>
            <ac:spMk id="18" creationId="{15589D35-CF9F-4DE9-A792-8571A09E9BC9}"/>
          </ac:spMkLst>
        </pc:spChg>
      </pc:sldChg>
      <pc:sldChg chg="add ord replId">
        <pc:chgData name="Alana Rivera" userId="S::arg3669@ads.northwestern.edu::fc8b707a-b7e9-4f2a-8d71-2d76819b7881" providerId="AD" clId="Web-{695BEAAF-3A7B-A2A0-C1D6-C8A00CDE5A92}" dt="2023-12-06T15:33:22.767" v="331"/>
        <pc:sldMkLst>
          <pc:docMk/>
          <pc:sldMk cId="157254878" sldId="757"/>
        </pc:sldMkLst>
      </pc:sldChg>
      <pc:sldChg chg="new del">
        <pc:chgData name="Alana Rivera" userId="S::arg3669@ads.northwestern.edu::fc8b707a-b7e9-4f2a-8d71-2d76819b7881" providerId="AD" clId="Web-{695BEAAF-3A7B-A2A0-C1D6-C8A00CDE5A92}" dt="2023-12-06T15:32:25.718" v="326"/>
        <pc:sldMkLst>
          <pc:docMk/>
          <pc:sldMk cId="3526669284" sldId="757"/>
        </pc:sldMkLst>
      </pc:sldChg>
      <pc:sldChg chg="addSp delSp modSp new mod setBg modNotes">
        <pc:chgData name="Alana Rivera" userId="S::arg3669@ads.northwestern.edu::fc8b707a-b7e9-4f2a-8d71-2d76819b7881" providerId="AD" clId="Web-{695BEAAF-3A7B-A2A0-C1D6-C8A00CDE5A92}" dt="2023-12-06T17:29:58.251" v="688"/>
        <pc:sldMkLst>
          <pc:docMk/>
          <pc:sldMk cId="2145715983" sldId="758"/>
        </pc:sldMkLst>
        <pc:spChg chg="mod">
          <ac:chgData name="Alana Rivera" userId="S::arg3669@ads.northwestern.edu::fc8b707a-b7e9-4f2a-8d71-2d76819b7881" providerId="AD" clId="Web-{695BEAAF-3A7B-A2A0-C1D6-C8A00CDE5A92}" dt="2023-12-06T15:59:39.188" v="449" actId="20577"/>
          <ac:spMkLst>
            <pc:docMk/>
            <pc:sldMk cId="2145715983" sldId="758"/>
            <ac:spMk id="2" creationId="{C21F535A-0D87-D453-2ABC-90CBA2A48D47}"/>
          </ac:spMkLst>
        </pc:spChg>
        <pc:spChg chg="del mod">
          <ac:chgData name="Alana Rivera" userId="S::arg3669@ads.northwestern.edu::fc8b707a-b7e9-4f2a-8d71-2d76819b7881" providerId="AD" clId="Web-{695BEAAF-3A7B-A2A0-C1D6-C8A00CDE5A92}" dt="2023-12-06T15:58:39.046" v="429"/>
          <ac:spMkLst>
            <pc:docMk/>
            <pc:sldMk cId="2145715983" sldId="758"/>
            <ac:spMk id="3" creationId="{15F1F3BC-678B-D800-5377-C797AA384155}"/>
          </ac:spMkLst>
        </pc:spChg>
        <pc:spChg chg="mod ord">
          <ac:chgData name="Alana Rivera" userId="S::arg3669@ads.northwestern.edu::fc8b707a-b7e9-4f2a-8d71-2d76819b7881" providerId="AD" clId="Web-{695BEAAF-3A7B-A2A0-C1D6-C8A00CDE5A92}" dt="2023-12-06T15:58:39.046" v="429"/>
          <ac:spMkLst>
            <pc:docMk/>
            <pc:sldMk cId="2145715983" sldId="758"/>
            <ac:spMk id="4" creationId="{28B57A0C-40B9-446D-FBCC-2AE2520DC829}"/>
          </ac:spMkLst>
        </pc:spChg>
        <pc:spChg chg="mod">
          <ac:chgData name="Alana Rivera" userId="S::arg3669@ads.northwestern.edu::fc8b707a-b7e9-4f2a-8d71-2d76819b7881" providerId="AD" clId="Web-{695BEAAF-3A7B-A2A0-C1D6-C8A00CDE5A92}" dt="2023-12-06T15:58:39.046" v="429"/>
          <ac:spMkLst>
            <pc:docMk/>
            <pc:sldMk cId="2145715983" sldId="758"/>
            <ac:spMk id="5" creationId="{BB575C24-2B60-F13E-430A-211B895B3B24}"/>
          </ac:spMkLst>
        </pc:spChg>
        <pc:spChg chg="add">
          <ac:chgData name="Alana Rivera" userId="S::arg3669@ads.northwestern.edu::fc8b707a-b7e9-4f2a-8d71-2d76819b7881" providerId="AD" clId="Web-{695BEAAF-3A7B-A2A0-C1D6-C8A00CDE5A92}" dt="2023-12-06T15:58:39.046" v="429"/>
          <ac:spMkLst>
            <pc:docMk/>
            <pc:sldMk cId="2145715983" sldId="758"/>
            <ac:spMk id="11" creationId="{6D1A2CED-DA9B-4CCF-8215-CFC65FE71603}"/>
          </ac:spMkLst>
        </pc:spChg>
        <pc:spChg chg="add">
          <ac:chgData name="Alana Rivera" userId="S::arg3669@ads.northwestern.edu::fc8b707a-b7e9-4f2a-8d71-2d76819b7881" providerId="AD" clId="Web-{695BEAAF-3A7B-A2A0-C1D6-C8A00CDE5A92}" dt="2023-12-06T15:58:39.046" v="429"/>
          <ac:spMkLst>
            <pc:docMk/>
            <pc:sldMk cId="2145715983" sldId="758"/>
            <ac:spMk id="13" creationId="{562DFC44-A40C-4573-9230-B3EDB3EC8EEB}"/>
          </ac:spMkLst>
        </pc:spChg>
        <pc:spChg chg="add">
          <ac:chgData name="Alana Rivera" userId="S::arg3669@ads.northwestern.edu::fc8b707a-b7e9-4f2a-8d71-2d76819b7881" providerId="AD" clId="Web-{695BEAAF-3A7B-A2A0-C1D6-C8A00CDE5A92}" dt="2023-12-06T15:58:39.046" v="429"/>
          <ac:spMkLst>
            <pc:docMk/>
            <pc:sldMk cId="2145715983" sldId="758"/>
            <ac:spMk id="15" creationId="{15589D35-CF9F-4DE9-A792-8571A09E9BC9}"/>
          </ac:spMkLst>
        </pc:spChg>
        <pc:graphicFrameChg chg="add modGraphic">
          <ac:chgData name="Alana Rivera" userId="S::arg3669@ads.northwestern.edu::fc8b707a-b7e9-4f2a-8d71-2d76819b7881" providerId="AD" clId="Web-{695BEAAF-3A7B-A2A0-C1D6-C8A00CDE5A92}" dt="2023-12-06T16:14:37.730" v="575" actId="20577"/>
          <ac:graphicFrameMkLst>
            <pc:docMk/>
            <pc:sldMk cId="2145715983" sldId="758"/>
            <ac:graphicFrameMk id="7" creationId="{0B168EAA-42E0-9A07-E345-708F5F7C614C}"/>
          </ac:graphicFrameMkLst>
        </pc:graphicFrameChg>
      </pc:sldChg>
      <pc:sldChg chg="add replId">
        <pc:chgData name="Alana Rivera" userId="S::arg3669@ads.northwestern.edu::fc8b707a-b7e9-4f2a-8d71-2d76819b7881" providerId="AD" clId="Web-{695BEAAF-3A7B-A2A0-C1D6-C8A00CDE5A92}" dt="2023-12-06T16:05:18.729" v="524"/>
        <pc:sldMkLst>
          <pc:docMk/>
          <pc:sldMk cId="464980632" sldId="759"/>
        </pc:sldMkLst>
      </pc:sldChg>
      <pc:sldChg chg="add replId">
        <pc:chgData name="Alana Rivera" userId="S::arg3669@ads.northwestern.edu::fc8b707a-b7e9-4f2a-8d71-2d76819b7881" providerId="AD" clId="Web-{695BEAAF-3A7B-A2A0-C1D6-C8A00CDE5A92}" dt="2023-12-06T16:05:18.776" v="525"/>
        <pc:sldMkLst>
          <pc:docMk/>
          <pc:sldMk cId="809056478" sldId="760"/>
        </pc:sldMkLst>
      </pc:sldChg>
      <pc:sldChg chg="add replId">
        <pc:chgData name="Alana Rivera" userId="S::arg3669@ads.northwestern.edu::fc8b707a-b7e9-4f2a-8d71-2d76819b7881" providerId="AD" clId="Web-{695BEAAF-3A7B-A2A0-C1D6-C8A00CDE5A92}" dt="2023-12-06T16:05:18.917" v="526"/>
        <pc:sldMkLst>
          <pc:docMk/>
          <pc:sldMk cId="1951444859" sldId="761"/>
        </pc:sldMkLst>
      </pc:sldChg>
      <pc:sldChg chg="add replId">
        <pc:chgData name="Alana Rivera" userId="S::arg3669@ads.northwestern.edu::fc8b707a-b7e9-4f2a-8d71-2d76819b7881" providerId="AD" clId="Web-{695BEAAF-3A7B-A2A0-C1D6-C8A00CDE5A92}" dt="2023-12-06T16:05:18.995" v="527"/>
        <pc:sldMkLst>
          <pc:docMk/>
          <pc:sldMk cId="21386578" sldId="762"/>
        </pc:sldMkLst>
      </pc:sldChg>
      <pc:sldChg chg="add replId">
        <pc:chgData name="Alana Rivera" userId="S::arg3669@ads.northwestern.edu::fc8b707a-b7e9-4f2a-8d71-2d76819b7881" providerId="AD" clId="Web-{695BEAAF-3A7B-A2A0-C1D6-C8A00CDE5A92}" dt="2023-12-06T16:05:19.682" v="528"/>
        <pc:sldMkLst>
          <pc:docMk/>
          <pc:sldMk cId="3172861299" sldId="763"/>
        </pc:sldMkLst>
      </pc:sldChg>
      <pc:sldChg chg="add replId">
        <pc:chgData name="Alana Rivera" userId="S::arg3669@ads.northwestern.edu::fc8b707a-b7e9-4f2a-8d71-2d76819b7881" providerId="AD" clId="Web-{695BEAAF-3A7B-A2A0-C1D6-C8A00CDE5A92}" dt="2023-12-06T16:05:20.182" v="529"/>
        <pc:sldMkLst>
          <pc:docMk/>
          <pc:sldMk cId="3648360168" sldId="764"/>
        </pc:sldMkLst>
      </pc:sldChg>
      <pc:sldChg chg="add replId">
        <pc:chgData name="Alana Rivera" userId="S::arg3669@ads.northwestern.edu::fc8b707a-b7e9-4f2a-8d71-2d76819b7881" providerId="AD" clId="Web-{695BEAAF-3A7B-A2A0-C1D6-C8A00CDE5A92}" dt="2023-12-06T16:05:20.307" v="530"/>
        <pc:sldMkLst>
          <pc:docMk/>
          <pc:sldMk cId="3001324315" sldId="765"/>
        </pc:sldMkLst>
      </pc:sldChg>
      <pc:sldChg chg="add replId">
        <pc:chgData name="Alana Rivera" userId="S::arg3669@ads.northwestern.edu::fc8b707a-b7e9-4f2a-8d71-2d76819b7881" providerId="AD" clId="Web-{695BEAAF-3A7B-A2A0-C1D6-C8A00CDE5A92}" dt="2023-12-06T16:05:20.463" v="531"/>
        <pc:sldMkLst>
          <pc:docMk/>
          <pc:sldMk cId="3828449067" sldId="766"/>
        </pc:sldMkLst>
      </pc:sldChg>
      <pc:sldChg chg="add replId">
        <pc:chgData name="Alana Rivera" userId="S::arg3669@ads.northwestern.edu::fc8b707a-b7e9-4f2a-8d71-2d76819b7881" providerId="AD" clId="Web-{695BEAAF-3A7B-A2A0-C1D6-C8A00CDE5A92}" dt="2023-12-06T16:05:20.588" v="532"/>
        <pc:sldMkLst>
          <pc:docMk/>
          <pc:sldMk cId="221022535" sldId="767"/>
        </pc:sldMkLst>
      </pc:sldChg>
      <pc:sldChg chg="add replId">
        <pc:chgData name="Alana Rivera" userId="S::arg3669@ads.northwestern.edu::fc8b707a-b7e9-4f2a-8d71-2d76819b7881" providerId="AD" clId="Web-{695BEAAF-3A7B-A2A0-C1D6-C8A00CDE5A92}" dt="2023-12-06T16:05:20.713" v="533"/>
        <pc:sldMkLst>
          <pc:docMk/>
          <pc:sldMk cId="2405207226" sldId="768"/>
        </pc:sldMkLst>
      </pc:sldChg>
      <pc:sldChg chg="add replId">
        <pc:chgData name="Alana Rivera" userId="S::arg3669@ads.northwestern.edu::fc8b707a-b7e9-4f2a-8d71-2d76819b7881" providerId="AD" clId="Web-{695BEAAF-3A7B-A2A0-C1D6-C8A00CDE5A92}" dt="2023-12-06T16:05:20.823" v="534"/>
        <pc:sldMkLst>
          <pc:docMk/>
          <pc:sldMk cId="1218576948" sldId="769"/>
        </pc:sldMkLst>
      </pc:sldChg>
      <pc:sldChg chg="add replId">
        <pc:chgData name="Alana Rivera" userId="S::arg3669@ads.northwestern.edu::fc8b707a-b7e9-4f2a-8d71-2d76819b7881" providerId="AD" clId="Web-{695BEAAF-3A7B-A2A0-C1D6-C8A00CDE5A92}" dt="2023-12-06T16:05:20.901" v="535"/>
        <pc:sldMkLst>
          <pc:docMk/>
          <pc:sldMk cId="3239100770" sldId="770"/>
        </pc:sldMkLst>
      </pc:sldChg>
      <pc:sldChg chg="add replId">
        <pc:chgData name="Alana Rivera" userId="S::arg3669@ads.northwestern.edu::fc8b707a-b7e9-4f2a-8d71-2d76819b7881" providerId="AD" clId="Web-{695BEAAF-3A7B-A2A0-C1D6-C8A00CDE5A92}" dt="2023-12-06T16:05:20.979" v="536"/>
        <pc:sldMkLst>
          <pc:docMk/>
          <pc:sldMk cId="3447934544" sldId="771"/>
        </pc:sldMkLst>
      </pc:sldChg>
      <pc:sldChg chg="add replId">
        <pc:chgData name="Alana Rivera" userId="S::arg3669@ads.northwestern.edu::fc8b707a-b7e9-4f2a-8d71-2d76819b7881" providerId="AD" clId="Web-{695BEAAF-3A7B-A2A0-C1D6-C8A00CDE5A92}" dt="2023-12-06T16:05:21.057" v="537"/>
        <pc:sldMkLst>
          <pc:docMk/>
          <pc:sldMk cId="956977998" sldId="772"/>
        </pc:sldMkLst>
      </pc:sldChg>
      <pc:sldChg chg="add replId">
        <pc:chgData name="Alana Rivera" userId="S::arg3669@ads.northwestern.edu::fc8b707a-b7e9-4f2a-8d71-2d76819b7881" providerId="AD" clId="Web-{695BEAAF-3A7B-A2A0-C1D6-C8A00CDE5A92}" dt="2023-12-06T16:05:21.260" v="538"/>
        <pc:sldMkLst>
          <pc:docMk/>
          <pc:sldMk cId="3125408936" sldId="773"/>
        </pc:sldMkLst>
      </pc:sldChg>
      <pc:sldChg chg="add replId">
        <pc:chgData name="Alana Rivera" userId="S::arg3669@ads.northwestern.edu::fc8b707a-b7e9-4f2a-8d71-2d76819b7881" providerId="AD" clId="Web-{695BEAAF-3A7B-A2A0-C1D6-C8A00CDE5A92}" dt="2023-12-06T16:05:21.354" v="539"/>
        <pc:sldMkLst>
          <pc:docMk/>
          <pc:sldMk cId="2091162388" sldId="774"/>
        </pc:sldMkLst>
      </pc:sldChg>
      <pc:sldChg chg="add replId">
        <pc:chgData name="Alana Rivera" userId="S::arg3669@ads.northwestern.edu::fc8b707a-b7e9-4f2a-8d71-2d76819b7881" providerId="AD" clId="Web-{695BEAAF-3A7B-A2A0-C1D6-C8A00CDE5A92}" dt="2023-12-06T16:05:21.635" v="540"/>
        <pc:sldMkLst>
          <pc:docMk/>
          <pc:sldMk cId="3425325308" sldId="775"/>
        </pc:sldMkLst>
      </pc:sldChg>
      <pc:sldChg chg="add replId">
        <pc:chgData name="Alana Rivera" userId="S::arg3669@ads.northwestern.edu::fc8b707a-b7e9-4f2a-8d71-2d76819b7881" providerId="AD" clId="Web-{695BEAAF-3A7B-A2A0-C1D6-C8A00CDE5A92}" dt="2023-12-06T16:05:21.823" v="541"/>
        <pc:sldMkLst>
          <pc:docMk/>
          <pc:sldMk cId="1087542757" sldId="776"/>
        </pc:sldMkLst>
      </pc:sldChg>
      <pc:sldChg chg="modSp add del replId">
        <pc:chgData name="Alana Rivera" userId="S::arg3669@ads.northwestern.edu::fc8b707a-b7e9-4f2a-8d71-2d76819b7881" providerId="AD" clId="Web-{695BEAAF-3A7B-A2A0-C1D6-C8A00CDE5A92}" dt="2023-12-06T16:19:10.425" v="620"/>
        <pc:sldMkLst>
          <pc:docMk/>
          <pc:sldMk cId="1390325635" sldId="777"/>
        </pc:sldMkLst>
        <pc:spChg chg="mod">
          <ac:chgData name="Alana Rivera" userId="S::arg3669@ads.northwestern.edu::fc8b707a-b7e9-4f2a-8d71-2d76819b7881" providerId="AD" clId="Web-{695BEAAF-3A7B-A2A0-C1D6-C8A00CDE5A92}" dt="2023-12-06T16:11:49.287" v="565" actId="1076"/>
          <ac:spMkLst>
            <pc:docMk/>
            <pc:sldMk cId="1390325635" sldId="777"/>
            <ac:spMk id="2" creationId="{C2B429CC-FC8C-ECA7-15C8-7563C27BFB95}"/>
          </ac:spMkLst>
        </pc:spChg>
        <pc:spChg chg="mod">
          <ac:chgData name="Alana Rivera" userId="S::arg3669@ads.northwestern.edu::fc8b707a-b7e9-4f2a-8d71-2d76819b7881" providerId="AD" clId="Web-{695BEAAF-3A7B-A2A0-C1D6-C8A00CDE5A92}" dt="2023-12-06T16:10:08.722" v="562" actId="20577"/>
          <ac:spMkLst>
            <pc:docMk/>
            <pc:sldMk cId="1390325635" sldId="777"/>
            <ac:spMk id="3" creationId="{C0454086-94BF-0693-766D-F1659194519A}"/>
          </ac:spMkLst>
        </pc:spChg>
      </pc:sldChg>
      <pc:sldChg chg="add">
        <pc:chgData name="Alana Rivera" userId="S::arg3669@ads.northwestern.edu::fc8b707a-b7e9-4f2a-8d71-2d76819b7881" providerId="AD" clId="Web-{695BEAAF-3A7B-A2A0-C1D6-C8A00CDE5A92}" dt="2023-12-06T16:12:18.038" v="569"/>
        <pc:sldMkLst>
          <pc:docMk/>
          <pc:sldMk cId="3573947264" sldId="778"/>
        </pc:sldMkLst>
      </pc:sldChg>
      <pc:sldChg chg="add">
        <pc:chgData name="Alana Rivera" userId="S::arg3669@ads.northwestern.edu::fc8b707a-b7e9-4f2a-8d71-2d76819b7881" providerId="AD" clId="Web-{695BEAAF-3A7B-A2A0-C1D6-C8A00CDE5A92}" dt="2023-12-06T16:12:18.351" v="570"/>
        <pc:sldMkLst>
          <pc:docMk/>
          <pc:sldMk cId="3850125703" sldId="779"/>
        </pc:sldMkLst>
      </pc:sldChg>
      <pc:sldChg chg="addSp delSp modSp new mod setBg modClrScheme chgLayout">
        <pc:chgData name="Alana Rivera" userId="S::arg3669@ads.northwestern.edu::fc8b707a-b7e9-4f2a-8d71-2d76819b7881" providerId="AD" clId="Web-{695BEAAF-3A7B-A2A0-C1D6-C8A00CDE5A92}" dt="2023-12-06T17:07:41.510" v="669" actId="14100"/>
        <pc:sldMkLst>
          <pc:docMk/>
          <pc:sldMk cId="1424189288" sldId="780"/>
        </pc:sldMkLst>
        <pc:spChg chg="mod ord">
          <ac:chgData name="Alana Rivera" userId="S::arg3669@ads.northwestern.edu::fc8b707a-b7e9-4f2a-8d71-2d76819b7881" providerId="AD" clId="Web-{695BEAAF-3A7B-A2A0-C1D6-C8A00CDE5A92}" dt="2023-12-06T17:07:41.510" v="669" actId="14100"/>
          <ac:spMkLst>
            <pc:docMk/>
            <pc:sldMk cId="1424189288" sldId="780"/>
            <ac:spMk id="2" creationId="{ABEAE34A-2D52-A58C-2DA2-581F73FFE439}"/>
          </ac:spMkLst>
        </pc:spChg>
        <pc:spChg chg="del mod ord">
          <ac:chgData name="Alana Rivera" userId="S::arg3669@ads.northwestern.edu::fc8b707a-b7e9-4f2a-8d71-2d76819b7881" providerId="AD" clId="Web-{695BEAAF-3A7B-A2A0-C1D6-C8A00CDE5A92}" dt="2023-12-06T16:47:28.677" v="634"/>
          <ac:spMkLst>
            <pc:docMk/>
            <pc:sldMk cId="1424189288" sldId="780"/>
            <ac:spMk id="3" creationId="{6177CA2E-FC56-E062-DD80-240926B3EBA6}"/>
          </ac:spMkLst>
        </pc:spChg>
        <pc:spChg chg="add del mod">
          <ac:chgData name="Alana Rivera" userId="S::arg3669@ads.northwestern.edu::fc8b707a-b7e9-4f2a-8d71-2d76819b7881" providerId="AD" clId="Web-{695BEAAF-3A7B-A2A0-C1D6-C8A00CDE5A92}" dt="2023-12-06T17:07:40.900" v="668"/>
          <ac:spMkLst>
            <pc:docMk/>
            <pc:sldMk cId="1424189288" sldId="780"/>
            <ac:spMk id="6" creationId="{39C20FD6-CC10-45BF-16AF-F9777A6A39B1}"/>
          </ac:spMkLst>
        </pc:spChg>
        <pc:spChg chg="add mod">
          <ac:chgData name="Alana Rivera" userId="S::arg3669@ads.northwestern.edu::fc8b707a-b7e9-4f2a-8d71-2d76819b7881" providerId="AD" clId="Web-{695BEAAF-3A7B-A2A0-C1D6-C8A00CDE5A92}" dt="2023-12-06T17:07:40.900" v="668"/>
          <ac:spMkLst>
            <pc:docMk/>
            <pc:sldMk cId="1424189288" sldId="780"/>
            <ac:spMk id="9" creationId="{694423A0-E7E7-CEE8-C80A-D6D3D14A2E48}"/>
          </ac:spMkLst>
        </pc:spChg>
        <pc:spChg chg="add del">
          <ac:chgData name="Alana Rivera" userId="S::arg3669@ads.northwestern.edu::fc8b707a-b7e9-4f2a-8d71-2d76819b7881" providerId="AD" clId="Web-{695BEAAF-3A7B-A2A0-C1D6-C8A00CDE5A92}" dt="2023-12-06T17:07:17.634" v="666"/>
          <ac:spMkLst>
            <pc:docMk/>
            <pc:sldMk cId="1424189288" sldId="780"/>
            <ac:spMk id="12" creationId="{5DCB5928-DC7D-4612-9922-441966E15627}"/>
          </ac:spMkLst>
        </pc:spChg>
        <pc:spChg chg="add del">
          <ac:chgData name="Alana Rivera" userId="S::arg3669@ads.northwestern.edu::fc8b707a-b7e9-4f2a-8d71-2d76819b7881" providerId="AD" clId="Web-{695BEAAF-3A7B-A2A0-C1D6-C8A00CDE5A92}" dt="2023-12-06T17:07:17.634" v="666"/>
          <ac:spMkLst>
            <pc:docMk/>
            <pc:sldMk cId="1424189288" sldId="780"/>
            <ac:spMk id="14" creationId="{682C1161-1736-45EC-99B7-33F3CAE9D517}"/>
          </ac:spMkLst>
        </pc:spChg>
        <pc:spChg chg="add del">
          <ac:chgData name="Alana Rivera" userId="S::arg3669@ads.northwestern.edu::fc8b707a-b7e9-4f2a-8d71-2d76819b7881" providerId="AD" clId="Web-{695BEAAF-3A7B-A2A0-C1D6-C8A00CDE5A92}" dt="2023-12-06T17:07:17.634" v="666"/>
          <ac:spMkLst>
            <pc:docMk/>
            <pc:sldMk cId="1424189288" sldId="780"/>
            <ac:spMk id="16" creationId="{84D4DDB8-B68F-45B0-9F62-C4279996F672}"/>
          </ac:spMkLst>
        </pc:spChg>
        <pc:spChg chg="add del">
          <ac:chgData name="Alana Rivera" userId="S::arg3669@ads.northwestern.edu::fc8b707a-b7e9-4f2a-8d71-2d76819b7881" providerId="AD" clId="Web-{695BEAAF-3A7B-A2A0-C1D6-C8A00CDE5A92}" dt="2023-12-06T17:07:17.634" v="666"/>
          <ac:spMkLst>
            <pc:docMk/>
            <pc:sldMk cId="1424189288" sldId="780"/>
            <ac:spMk id="18" creationId="{AF2F604E-43BE-4DC3-B983-E071523364F8}"/>
          </ac:spMkLst>
        </pc:spChg>
        <pc:spChg chg="add del">
          <ac:chgData name="Alana Rivera" userId="S::arg3669@ads.northwestern.edu::fc8b707a-b7e9-4f2a-8d71-2d76819b7881" providerId="AD" clId="Web-{695BEAAF-3A7B-A2A0-C1D6-C8A00CDE5A92}" dt="2023-12-06T17:07:17.634" v="666"/>
          <ac:spMkLst>
            <pc:docMk/>
            <pc:sldMk cId="1424189288" sldId="780"/>
            <ac:spMk id="20" creationId="{08C9B587-E65E-4B52-B37C-ABEBB6E87928}"/>
          </ac:spMkLst>
        </pc:spChg>
        <pc:spChg chg="add">
          <ac:chgData name="Alana Rivera" userId="S::arg3669@ads.northwestern.edu::fc8b707a-b7e9-4f2a-8d71-2d76819b7881" providerId="AD" clId="Web-{695BEAAF-3A7B-A2A0-C1D6-C8A00CDE5A92}" dt="2023-12-06T17:07:17.634" v="666"/>
          <ac:spMkLst>
            <pc:docMk/>
            <pc:sldMk cId="1424189288" sldId="780"/>
            <ac:spMk id="25" creationId="{B7BD7FCF-A254-4A97-A15C-319B67622677}"/>
          </ac:spMkLst>
        </pc:spChg>
        <pc:spChg chg="add">
          <ac:chgData name="Alana Rivera" userId="S::arg3669@ads.northwestern.edu::fc8b707a-b7e9-4f2a-8d71-2d76819b7881" providerId="AD" clId="Web-{695BEAAF-3A7B-A2A0-C1D6-C8A00CDE5A92}" dt="2023-12-06T17:07:17.634" v="666"/>
          <ac:spMkLst>
            <pc:docMk/>
            <pc:sldMk cId="1424189288" sldId="780"/>
            <ac:spMk id="27" creationId="{52FFAF72-6204-4676-9C6F-9A4CC4D91805}"/>
          </ac:spMkLst>
        </pc:spChg>
        <pc:picChg chg="add del mod ord">
          <ac:chgData name="Alana Rivera" userId="S::arg3669@ads.northwestern.edu::fc8b707a-b7e9-4f2a-8d71-2d76819b7881" providerId="AD" clId="Web-{695BEAAF-3A7B-A2A0-C1D6-C8A00CDE5A92}" dt="2023-12-06T17:00:11.871" v="642"/>
          <ac:picMkLst>
            <pc:docMk/>
            <pc:sldMk cId="1424189288" sldId="780"/>
            <ac:picMk id="4" creationId="{88C41695-E6F3-DBC8-D295-A24473E9E355}"/>
          </ac:picMkLst>
        </pc:picChg>
        <pc:picChg chg="add mod">
          <ac:chgData name="Alana Rivera" userId="S::arg3669@ads.northwestern.edu::fc8b707a-b7e9-4f2a-8d71-2d76819b7881" providerId="AD" clId="Web-{695BEAAF-3A7B-A2A0-C1D6-C8A00CDE5A92}" dt="2023-12-06T17:07:17.634" v="666"/>
          <ac:picMkLst>
            <pc:docMk/>
            <pc:sldMk cId="1424189288" sldId="780"/>
            <ac:picMk id="7" creationId="{648AEA2B-20F0-4307-3422-7010EC1CAD16}"/>
          </ac:picMkLst>
        </pc:picChg>
      </pc:sldChg>
      <pc:sldChg chg="addSp modSp add mod ord replId setBg">
        <pc:chgData name="Alana Rivera" userId="S::arg3669@ads.northwestern.edu::fc8b707a-b7e9-4f2a-8d71-2d76819b7881" providerId="AD" clId="Web-{695BEAAF-3A7B-A2A0-C1D6-C8A00CDE5A92}" dt="2023-12-06T17:15:36.664" v="680"/>
        <pc:sldMkLst>
          <pc:docMk/>
          <pc:sldMk cId="254191585" sldId="781"/>
        </pc:sldMkLst>
        <pc:spChg chg="mod ord">
          <ac:chgData name="Alana Rivera" userId="S::arg3669@ads.northwestern.edu::fc8b707a-b7e9-4f2a-8d71-2d76819b7881" providerId="AD" clId="Web-{695BEAAF-3A7B-A2A0-C1D6-C8A00CDE5A92}" dt="2023-12-06T17:09:02.043" v="676"/>
          <ac:spMkLst>
            <pc:docMk/>
            <pc:sldMk cId="254191585" sldId="781"/>
            <ac:spMk id="2" creationId="{ABEAE34A-2D52-A58C-2DA2-581F73FFE439}"/>
          </ac:spMkLst>
        </pc:spChg>
        <pc:spChg chg="add mod">
          <ac:chgData name="Alana Rivera" userId="S::arg3669@ads.northwestern.edu::fc8b707a-b7e9-4f2a-8d71-2d76819b7881" providerId="AD" clId="Web-{695BEAAF-3A7B-A2A0-C1D6-C8A00CDE5A92}" dt="2023-12-06T17:08:51.621" v="675"/>
          <ac:spMkLst>
            <pc:docMk/>
            <pc:sldMk cId="254191585" sldId="781"/>
            <ac:spMk id="3" creationId="{697CC922-DCBC-6909-3C50-81936822364F}"/>
          </ac:spMkLst>
        </pc:spChg>
        <pc:spChg chg="add">
          <ac:chgData name="Alana Rivera" userId="S::arg3669@ads.northwestern.edu::fc8b707a-b7e9-4f2a-8d71-2d76819b7881" providerId="AD" clId="Web-{695BEAAF-3A7B-A2A0-C1D6-C8A00CDE5A92}" dt="2023-12-06T17:08:11.245" v="670"/>
          <ac:spMkLst>
            <pc:docMk/>
            <pc:sldMk cId="254191585" sldId="781"/>
            <ac:spMk id="8" creationId="{04407E59-9135-CA13-2F6F-1044072DCAAD}"/>
          </ac:spMkLst>
        </pc:spChg>
        <pc:spChg chg="add">
          <ac:chgData name="Alana Rivera" userId="S::arg3669@ads.northwestern.edu::fc8b707a-b7e9-4f2a-8d71-2d76819b7881" providerId="AD" clId="Web-{695BEAAF-3A7B-A2A0-C1D6-C8A00CDE5A92}" dt="2023-12-06T17:08:11.245" v="670"/>
          <ac:spMkLst>
            <pc:docMk/>
            <pc:sldMk cId="254191585" sldId="781"/>
            <ac:spMk id="11" creationId="{2B97F24A-32CE-4C1C-A50D-3016B394DCFB}"/>
          </ac:spMkLst>
        </pc:spChg>
        <pc:spChg chg="add">
          <ac:chgData name="Alana Rivera" userId="S::arg3669@ads.northwestern.edu::fc8b707a-b7e9-4f2a-8d71-2d76819b7881" providerId="AD" clId="Web-{695BEAAF-3A7B-A2A0-C1D6-C8A00CDE5A92}" dt="2023-12-06T17:08:11.245" v="670"/>
          <ac:spMkLst>
            <pc:docMk/>
            <pc:sldMk cId="254191585" sldId="781"/>
            <ac:spMk id="13" creationId="{CD8B4F24-440B-49E9-B85D-733523DC064B}"/>
          </ac:spMkLst>
        </pc:spChg>
        <pc:picChg chg="mod">
          <ac:chgData name="Alana Rivera" userId="S::arg3669@ads.northwestern.edu::fc8b707a-b7e9-4f2a-8d71-2d76819b7881" providerId="AD" clId="Web-{695BEAAF-3A7B-A2A0-C1D6-C8A00CDE5A92}" dt="2023-12-06T17:08:30.777" v="672" actId="1076"/>
          <ac:picMkLst>
            <pc:docMk/>
            <pc:sldMk cId="254191585" sldId="781"/>
            <ac:picMk id="4" creationId="{88C41695-E6F3-DBC8-D295-A24473E9E355}"/>
          </ac:picMkLst>
        </pc:picChg>
      </pc:sldChg>
      <pc:sldChg chg="addSp delSp modSp new mod setBg modNotes">
        <pc:chgData name="Alana Rivera" userId="S::arg3669@ads.northwestern.edu::fc8b707a-b7e9-4f2a-8d71-2d76819b7881" providerId="AD" clId="Web-{695BEAAF-3A7B-A2A0-C1D6-C8A00CDE5A92}" dt="2023-12-06T17:39:59.409" v="745"/>
        <pc:sldMkLst>
          <pc:docMk/>
          <pc:sldMk cId="3647874458" sldId="782"/>
        </pc:sldMkLst>
        <pc:spChg chg="mod">
          <ac:chgData name="Alana Rivera" userId="S::arg3669@ads.northwestern.edu::fc8b707a-b7e9-4f2a-8d71-2d76819b7881" providerId="AD" clId="Web-{695BEAAF-3A7B-A2A0-C1D6-C8A00CDE5A92}" dt="2023-12-06T17:38:50.611" v="742" actId="20577"/>
          <ac:spMkLst>
            <pc:docMk/>
            <pc:sldMk cId="3647874458" sldId="782"/>
            <ac:spMk id="2" creationId="{D50660DD-55AA-9303-E4CF-AE555E14850E}"/>
          </ac:spMkLst>
        </pc:spChg>
        <pc:spChg chg="add del mod">
          <ac:chgData name="Alana Rivera" userId="S::arg3669@ads.northwestern.edu::fc8b707a-b7e9-4f2a-8d71-2d76819b7881" providerId="AD" clId="Web-{695BEAAF-3A7B-A2A0-C1D6-C8A00CDE5A92}" dt="2023-12-06T17:38:50.173" v="741" actId="20577"/>
          <ac:spMkLst>
            <pc:docMk/>
            <pc:sldMk cId="3647874458" sldId="782"/>
            <ac:spMk id="3" creationId="{1BDBFFB4-BDFD-7CAA-7ED3-E8D59F73B2F5}"/>
          </ac:spMkLst>
        </pc:spChg>
        <pc:spChg chg="mod ord">
          <ac:chgData name="Alana Rivera" userId="S::arg3669@ads.northwestern.edu::fc8b707a-b7e9-4f2a-8d71-2d76819b7881" providerId="AD" clId="Web-{695BEAAF-3A7B-A2A0-C1D6-C8A00CDE5A92}" dt="2023-12-06T17:37:23.858" v="731"/>
          <ac:spMkLst>
            <pc:docMk/>
            <pc:sldMk cId="3647874458" sldId="782"/>
            <ac:spMk id="4" creationId="{6DFF1913-0354-37F0-846A-03B88E26573C}"/>
          </ac:spMkLst>
        </pc:spChg>
        <pc:spChg chg="mod">
          <ac:chgData name="Alana Rivera" userId="S::arg3669@ads.northwestern.edu::fc8b707a-b7e9-4f2a-8d71-2d76819b7881" providerId="AD" clId="Web-{695BEAAF-3A7B-A2A0-C1D6-C8A00CDE5A92}" dt="2023-12-06T17:37:23.858" v="731"/>
          <ac:spMkLst>
            <pc:docMk/>
            <pc:sldMk cId="3647874458" sldId="782"/>
            <ac:spMk id="5" creationId="{32B23182-521C-2DCB-0256-BF76AF151C33}"/>
          </ac:spMkLst>
        </pc:spChg>
        <pc:spChg chg="add del mod">
          <ac:chgData name="Alana Rivera" userId="S::arg3669@ads.northwestern.edu::fc8b707a-b7e9-4f2a-8d71-2d76819b7881" providerId="AD" clId="Web-{695BEAAF-3A7B-A2A0-C1D6-C8A00CDE5A92}" dt="2023-12-06T17:35:38.355" v="714"/>
          <ac:spMkLst>
            <pc:docMk/>
            <pc:sldMk cId="3647874458" sldId="782"/>
            <ac:spMk id="9" creationId="{D88B0A40-99CE-B0D1-F3AE-9C24B3C30993}"/>
          </ac:spMkLst>
        </pc:spChg>
        <pc:spChg chg="add">
          <ac:chgData name="Alana Rivera" userId="S::arg3669@ads.northwestern.edu::fc8b707a-b7e9-4f2a-8d71-2d76819b7881" providerId="AD" clId="Web-{695BEAAF-3A7B-A2A0-C1D6-C8A00CDE5A92}" dt="2023-12-06T17:37:23.858" v="731"/>
          <ac:spMkLst>
            <pc:docMk/>
            <pc:sldMk cId="3647874458" sldId="782"/>
            <ac:spMk id="16" creationId="{63F5877B-98C7-49DD-83AB-0F6F57CB6543}"/>
          </ac:spMkLst>
        </pc:spChg>
        <pc:spChg chg="add">
          <ac:chgData name="Alana Rivera" userId="S::arg3669@ads.northwestern.edu::fc8b707a-b7e9-4f2a-8d71-2d76819b7881" providerId="AD" clId="Web-{695BEAAF-3A7B-A2A0-C1D6-C8A00CDE5A92}" dt="2023-12-06T17:37:23.858" v="731"/>
          <ac:spMkLst>
            <pc:docMk/>
            <pc:sldMk cId="3647874458" sldId="782"/>
            <ac:spMk id="18" creationId="{4EA91930-66BC-4C41-B4F5-C31EB216F64B}"/>
          </ac:spMkLst>
        </pc:spChg>
        <pc:spChg chg="add">
          <ac:chgData name="Alana Rivera" userId="S::arg3669@ads.northwestern.edu::fc8b707a-b7e9-4f2a-8d71-2d76819b7881" providerId="AD" clId="Web-{695BEAAF-3A7B-A2A0-C1D6-C8A00CDE5A92}" dt="2023-12-06T17:37:23.858" v="731"/>
          <ac:spMkLst>
            <pc:docMk/>
            <pc:sldMk cId="3647874458" sldId="782"/>
            <ac:spMk id="20" creationId="{6313CF8F-B436-401E-9575-DE0F8E8B5B17}"/>
          </ac:spMkLst>
        </pc:spChg>
        <pc:spChg chg="add">
          <ac:chgData name="Alana Rivera" userId="S::arg3669@ads.northwestern.edu::fc8b707a-b7e9-4f2a-8d71-2d76819b7881" providerId="AD" clId="Web-{695BEAAF-3A7B-A2A0-C1D6-C8A00CDE5A92}" dt="2023-12-06T17:37:23.858" v="731"/>
          <ac:spMkLst>
            <pc:docMk/>
            <pc:sldMk cId="3647874458" sldId="782"/>
            <ac:spMk id="22" creationId="{2A38CFE9-C30A-4551-ACCB-D5808FBC39CD}"/>
          </ac:spMkLst>
        </pc:spChg>
        <pc:spChg chg="add">
          <ac:chgData name="Alana Rivera" userId="S::arg3669@ads.northwestern.edu::fc8b707a-b7e9-4f2a-8d71-2d76819b7881" providerId="AD" clId="Web-{695BEAAF-3A7B-A2A0-C1D6-C8A00CDE5A92}" dt="2023-12-06T17:37:23.858" v="731"/>
          <ac:spMkLst>
            <pc:docMk/>
            <pc:sldMk cId="3647874458" sldId="782"/>
            <ac:spMk id="24" creationId="{67EF550F-47CE-4FB2-9DAC-12AD835C833D}"/>
          </ac:spMkLst>
        </pc:spChg>
        <pc:picChg chg="add del mod">
          <ac:chgData name="Alana Rivera" userId="S::arg3669@ads.northwestern.edu::fc8b707a-b7e9-4f2a-8d71-2d76819b7881" providerId="AD" clId="Web-{695BEAAF-3A7B-A2A0-C1D6-C8A00CDE5A92}" dt="2023-12-06T17:35:25.808" v="712"/>
          <ac:picMkLst>
            <pc:docMk/>
            <pc:sldMk cId="3647874458" sldId="782"/>
            <ac:picMk id="6" creationId="{ECF5E525-0F1D-3A8D-3A8B-44E14EDAFA08}"/>
          </ac:picMkLst>
        </pc:picChg>
        <pc:picChg chg="add del mod">
          <ac:chgData name="Alana Rivera" userId="S::arg3669@ads.northwestern.edu::fc8b707a-b7e9-4f2a-8d71-2d76819b7881" providerId="AD" clId="Web-{695BEAAF-3A7B-A2A0-C1D6-C8A00CDE5A92}" dt="2023-12-06T17:35:20.073" v="711"/>
          <ac:picMkLst>
            <pc:docMk/>
            <pc:sldMk cId="3647874458" sldId="782"/>
            <ac:picMk id="7" creationId="{30A299C7-E563-527C-E23F-EE27E446EC60}"/>
          </ac:picMkLst>
        </pc:picChg>
        <pc:picChg chg="add mod ord">
          <ac:chgData name="Alana Rivera" userId="S::arg3669@ads.northwestern.edu::fc8b707a-b7e9-4f2a-8d71-2d76819b7881" providerId="AD" clId="Web-{695BEAAF-3A7B-A2A0-C1D6-C8A00CDE5A92}" dt="2023-12-06T17:37:41.984" v="734" actId="1076"/>
          <ac:picMkLst>
            <pc:docMk/>
            <pc:sldMk cId="3647874458" sldId="782"/>
            <ac:picMk id="10" creationId="{ADD5BB0D-E8E5-F0C4-66FF-C6015A844E0C}"/>
          </ac:picMkLst>
        </pc:picChg>
        <pc:picChg chg="add mod ord">
          <ac:chgData name="Alana Rivera" userId="S::arg3669@ads.northwestern.edu::fc8b707a-b7e9-4f2a-8d71-2d76819b7881" providerId="AD" clId="Web-{695BEAAF-3A7B-A2A0-C1D6-C8A00CDE5A92}" dt="2023-12-06T17:37:35.124" v="733" actId="1076"/>
          <ac:picMkLst>
            <pc:docMk/>
            <pc:sldMk cId="3647874458" sldId="782"/>
            <ac:picMk id="11" creationId="{E3B31575-1699-97A1-7D84-F659A8AEBB7E}"/>
          </ac:picMkLst>
        </pc:picChg>
      </pc:sldChg>
      <pc:sldChg chg="addSp modSp new">
        <pc:chgData name="Alana Rivera" userId="S::arg3669@ads.northwestern.edu::fc8b707a-b7e9-4f2a-8d71-2d76819b7881" providerId="AD" clId="Web-{695BEAAF-3A7B-A2A0-C1D6-C8A00CDE5A92}" dt="2023-12-06T17:45:37.716" v="792" actId="1076"/>
        <pc:sldMkLst>
          <pc:docMk/>
          <pc:sldMk cId="2801218349" sldId="783"/>
        </pc:sldMkLst>
        <pc:spChg chg="mod">
          <ac:chgData name="Alana Rivera" userId="S::arg3669@ads.northwestern.edu::fc8b707a-b7e9-4f2a-8d71-2d76819b7881" providerId="AD" clId="Web-{695BEAAF-3A7B-A2A0-C1D6-C8A00CDE5A92}" dt="2023-12-06T17:42:54.383" v="752" actId="20577"/>
          <ac:spMkLst>
            <pc:docMk/>
            <pc:sldMk cId="2801218349" sldId="783"/>
            <ac:spMk id="2" creationId="{24126F8B-9BF3-A14A-155A-4BBED8D3A4F2}"/>
          </ac:spMkLst>
        </pc:spChg>
        <pc:spChg chg="mod">
          <ac:chgData name="Alana Rivera" userId="S::arg3669@ads.northwestern.edu::fc8b707a-b7e9-4f2a-8d71-2d76819b7881" providerId="AD" clId="Web-{695BEAAF-3A7B-A2A0-C1D6-C8A00CDE5A92}" dt="2023-12-06T17:44:09.745" v="790" actId="20577"/>
          <ac:spMkLst>
            <pc:docMk/>
            <pc:sldMk cId="2801218349" sldId="783"/>
            <ac:spMk id="3" creationId="{93CFEAA9-8744-8A34-D609-D4A0857EBF19}"/>
          </ac:spMkLst>
        </pc:spChg>
        <pc:picChg chg="add mod">
          <ac:chgData name="Alana Rivera" userId="S::arg3669@ads.northwestern.edu::fc8b707a-b7e9-4f2a-8d71-2d76819b7881" providerId="AD" clId="Web-{695BEAAF-3A7B-A2A0-C1D6-C8A00CDE5A92}" dt="2023-12-06T17:45:37.716" v="792" actId="1076"/>
          <ac:picMkLst>
            <pc:docMk/>
            <pc:sldMk cId="2801218349" sldId="783"/>
            <ac:picMk id="6" creationId="{6C1BBFF3-333A-74DF-425B-D8A7E5FCB163}"/>
          </ac:picMkLst>
        </pc:picChg>
      </pc:sldChg>
    </pc:docChg>
  </pc:docChgLst>
  <pc:docChgLst>
    <pc:chgData name="Aleena Lida Surenian" userId="S::als0813@ads.northwestern.edu::e2fd0e4e-6417-49b0-ab16-0ba26a1719f0" providerId="AD" clId="Web-{C3552A06-5909-6D3B-9B48-7F6146D07F3D}"/>
    <pc:docChg chg="addSld modSld sldOrd">
      <pc:chgData name="Aleena Lida Surenian" userId="S::als0813@ads.northwestern.edu::e2fd0e4e-6417-49b0-ab16-0ba26a1719f0" providerId="AD" clId="Web-{C3552A06-5909-6D3B-9B48-7F6146D07F3D}" dt="2023-10-30T19:52:03.786" v="107" actId="20577"/>
      <pc:docMkLst>
        <pc:docMk/>
      </pc:docMkLst>
      <pc:sldChg chg="modSp addCm">
        <pc:chgData name="Aleena Lida Surenian" userId="S::als0813@ads.northwestern.edu::e2fd0e4e-6417-49b0-ab16-0ba26a1719f0" providerId="AD" clId="Web-{C3552A06-5909-6D3B-9B48-7F6146D07F3D}" dt="2023-10-30T19:15:11.279" v="12" actId="1076"/>
        <pc:sldMkLst>
          <pc:docMk/>
          <pc:sldMk cId="4044691067" sldId="283"/>
        </pc:sldMkLst>
        <pc:spChg chg="mod">
          <ac:chgData name="Aleena Lida Surenian" userId="S::als0813@ads.northwestern.edu::e2fd0e4e-6417-49b0-ab16-0ba26a1719f0" providerId="AD" clId="Web-{C3552A06-5909-6D3B-9B48-7F6146D07F3D}" dt="2023-10-30T19:15:06.685" v="11" actId="1076"/>
          <ac:spMkLst>
            <pc:docMk/>
            <pc:sldMk cId="4044691067" sldId="283"/>
            <ac:spMk id="2" creationId="{00000000-0000-0000-0000-000000000000}"/>
          </ac:spMkLst>
        </pc:spChg>
        <pc:spChg chg="mod">
          <ac:chgData name="Aleena Lida Surenian" userId="S::als0813@ads.northwestern.edu::e2fd0e4e-6417-49b0-ab16-0ba26a1719f0" providerId="AD" clId="Web-{C3552A06-5909-6D3B-9B48-7F6146D07F3D}" dt="2023-10-30T19:15:11.279" v="12" actId="1076"/>
          <ac:spMkLst>
            <pc:docMk/>
            <pc:sldMk cId="4044691067" sldId="283"/>
            <ac:spMk id="3" creationId="{00000000-0000-0000-0000-000000000000}"/>
          </ac:spMkLst>
        </pc:spChg>
        <pc:spChg chg="mod">
          <ac:chgData name="Aleena Lida Surenian" userId="S::als0813@ads.northwestern.edu::e2fd0e4e-6417-49b0-ab16-0ba26a1719f0" providerId="AD" clId="Web-{C3552A06-5909-6D3B-9B48-7F6146D07F3D}" dt="2023-10-30T19:15:02.420" v="10" actId="14100"/>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add">
              <pc226:chgData name="Aleena Lida Surenian" userId="S::als0813@ads.northwestern.edu::e2fd0e4e-6417-49b0-ab16-0ba26a1719f0" providerId="AD" clId="Web-{C3552A06-5909-6D3B-9B48-7F6146D07F3D}" dt="2023-10-30T19:14:00.558" v="0"/>
              <pc2:cmMkLst xmlns:pc2="http://schemas.microsoft.com/office/powerpoint/2019/9/main/command">
                <pc:docMk/>
                <pc:sldMk cId="4044691067" sldId="283"/>
                <pc2:cmMk id="{51D99AE4-D60E-4433-99C8-10E7EA141D41}"/>
              </pc2:cmMkLst>
            </pc226:cmChg>
          </p:ext>
        </pc:extLst>
      </pc:sldChg>
      <pc:sldChg chg="modSp">
        <pc:chgData name="Aleena Lida Surenian" userId="S::als0813@ads.northwestern.edu::e2fd0e4e-6417-49b0-ab16-0ba26a1719f0" providerId="AD" clId="Web-{C3552A06-5909-6D3B-9B48-7F6146D07F3D}" dt="2023-10-30T19:26:16.305" v="23" actId="1076"/>
        <pc:sldMkLst>
          <pc:docMk/>
          <pc:sldMk cId="714682852" sldId="552"/>
        </pc:sldMkLst>
        <pc:spChg chg="mod">
          <ac:chgData name="Aleena Lida Surenian" userId="S::als0813@ads.northwestern.edu::e2fd0e4e-6417-49b0-ab16-0ba26a1719f0" providerId="AD" clId="Web-{C3552A06-5909-6D3B-9B48-7F6146D07F3D}" dt="2023-10-30T19:26:16.305" v="23" actId="1076"/>
          <ac:spMkLst>
            <pc:docMk/>
            <pc:sldMk cId="714682852" sldId="552"/>
            <ac:spMk id="3" creationId="{B5F4F3C7-3634-23BA-9CDD-53123F8398D7}"/>
          </ac:spMkLst>
        </pc:spChg>
      </pc:sldChg>
      <pc:sldChg chg="modSp">
        <pc:chgData name="Aleena Lida Surenian" userId="S::als0813@ads.northwestern.edu::e2fd0e4e-6417-49b0-ab16-0ba26a1719f0" providerId="AD" clId="Web-{C3552A06-5909-6D3B-9B48-7F6146D07F3D}" dt="2023-10-30T19:23:51.737" v="18" actId="20577"/>
        <pc:sldMkLst>
          <pc:docMk/>
          <pc:sldMk cId="1514756035" sldId="556"/>
        </pc:sldMkLst>
        <pc:spChg chg="mod">
          <ac:chgData name="Aleena Lida Surenian" userId="S::als0813@ads.northwestern.edu::e2fd0e4e-6417-49b0-ab16-0ba26a1719f0" providerId="AD" clId="Web-{C3552A06-5909-6D3B-9B48-7F6146D07F3D}" dt="2023-10-30T19:23:51.737" v="18" actId="20577"/>
          <ac:spMkLst>
            <pc:docMk/>
            <pc:sldMk cId="1514756035" sldId="556"/>
            <ac:spMk id="28" creationId="{8C1D734D-3C73-E6F6-D1A8-CF64A5F8112D}"/>
          </ac:spMkLst>
        </pc:spChg>
      </pc:sldChg>
      <pc:sldChg chg="modSp">
        <pc:chgData name="Aleena Lida Surenian" userId="S::als0813@ads.northwestern.edu::e2fd0e4e-6417-49b0-ab16-0ba26a1719f0" providerId="AD" clId="Web-{C3552A06-5909-6D3B-9B48-7F6146D07F3D}" dt="2023-10-30T19:52:03.786" v="107" actId="20577"/>
        <pc:sldMkLst>
          <pc:docMk/>
          <pc:sldMk cId="4283907660" sldId="580"/>
        </pc:sldMkLst>
        <pc:spChg chg="mod">
          <ac:chgData name="Aleena Lida Surenian" userId="S::als0813@ads.northwestern.edu::e2fd0e4e-6417-49b0-ab16-0ba26a1719f0" providerId="AD" clId="Web-{C3552A06-5909-6D3B-9B48-7F6146D07F3D}" dt="2023-10-30T19:52:03.786" v="107" actId="20577"/>
          <ac:spMkLst>
            <pc:docMk/>
            <pc:sldMk cId="4283907660" sldId="580"/>
            <ac:spMk id="68" creationId="{00000000-0000-0000-0000-000000000000}"/>
          </ac:spMkLst>
        </pc:spChg>
      </pc:sldChg>
      <pc:sldChg chg="addSp modSp">
        <pc:chgData name="Aleena Lida Surenian" userId="S::als0813@ads.northwestern.edu::e2fd0e4e-6417-49b0-ab16-0ba26a1719f0" providerId="AD" clId="Web-{C3552A06-5909-6D3B-9B48-7F6146D07F3D}" dt="2023-10-30T19:35:15.325" v="96" actId="1076"/>
        <pc:sldMkLst>
          <pc:docMk/>
          <pc:sldMk cId="3870927286" sldId="583"/>
        </pc:sldMkLst>
        <pc:spChg chg="mod">
          <ac:chgData name="Aleena Lida Surenian" userId="S::als0813@ads.northwestern.edu::e2fd0e4e-6417-49b0-ab16-0ba26a1719f0" providerId="AD" clId="Web-{C3552A06-5909-6D3B-9B48-7F6146D07F3D}" dt="2023-10-30T19:34:35.464" v="92" actId="20577"/>
          <ac:spMkLst>
            <pc:docMk/>
            <pc:sldMk cId="3870927286" sldId="583"/>
            <ac:spMk id="2" creationId="{00000000-0000-0000-0000-000000000000}"/>
          </ac:spMkLst>
        </pc:spChg>
        <pc:spChg chg="mod">
          <ac:chgData name="Aleena Lida Surenian" userId="S::als0813@ads.northwestern.edu::e2fd0e4e-6417-49b0-ab16-0ba26a1719f0" providerId="AD" clId="Web-{C3552A06-5909-6D3B-9B48-7F6146D07F3D}" dt="2023-10-30T19:33:12.274" v="60" actId="20577"/>
          <ac:spMkLst>
            <pc:docMk/>
            <pc:sldMk cId="3870927286" sldId="583"/>
            <ac:spMk id="12" creationId="{00000000-0000-0000-0000-000000000000}"/>
          </ac:spMkLst>
        </pc:spChg>
        <pc:spChg chg="mod">
          <ac:chgData name="Aleena Lida Surenian" userId="S::als0813@ads.northwestern.edu::e2fd0e4e-6417-49b0-ab16-0ba26a1719f0" providerId="AD" clId="Web-{C3552A06-5909-6D3B-9B48-7F6146D07F3D}" dt="2023-10-30T19:33:23.134" v="62" actId="20577"/>
          <ac:spMkLst>
            <pc:docMk/>
            <pc:sldMk cId="3870927286" sldId="583"/>
            <ac:spMk id="27" creationId="{00000000-0000-0000-0000-000000000000}"/>
          </ac:spMkLst>
        </pc:spChg>
        <pc:spChg chg="mod">
          <ac:chgData name="Aleena Lida Surenian" userId="S::als0813@ads.northwestern.edu::e2fd0e4e-6417-49b0-ab16-0ba26a1719f0" providerId="AD" clId="Web-{C3552A06-5909-6D3B-9B48-7F6146D07F3D}" dt="2023-10-30T19:33:39.494" v="65" actId="14100"/>
          <ac:spMkLst>
            <pc:docMk/>
            <pc:sldMk cId="3870927286" sldId="583"/>
            <ac:spMk id="39" creationId="{00000000-0000-0000-0000-000000000000}"/>
          </ac:spMkLst>
        </pc:spChg>
        <pc:picChg chg="add mod">
          <ac:chgData name="Aleena Lida Surenian" userId="S::als0813@ads.northwestern.edu::e2fd0e4e-6417-49b0-ab16-0ba26a1719f0" providerId="AD" clId="Web-{C3552A06-5909-6D3B-9B48-7F6146D07F3D}" dt="2023-10-30T19:35:15.325" v="96" actId="1076"/>
          <ac:picMkLst>
            <pc:docMk/>
            <pc:sldMk cId="3870927286" sldId="583"/>
            <ac:picMk id="18" creationId="{1199796C-BA73-A007-E570-EBC0C69CD679}"/>
          </ac:picMkLst>
        </pc:picChg>
      </pc:sldChg>
      <pc:sldChg chg="modSp">
        <pc:chgData name="Aleena Lida Surenian" userId="S::als0813@ads.northwestern.edu::e2fd0e4e-6417-49b0-ab16-0ba26a1719f0" providerId="AD" clId="Web-{C3552A06-5909-6D3B-9B48-7F6146D07F3D}" dt="2023-10-30T19:44:55.722" v="105" actId="1076"/>
        <pc:sldMkLst>
          <pc:docMk/>
          <pc:sldMk cId="629433230" sldId="591"/>
        </pc:sldMkLst>
        <pc:spChg chg="mod">
          <ac:chgData name="Aleena Lida Surenian" userId="S::als0813@ads.northwestern.edu::e2fd0e4e-6417-49b0-ab16-0ba26a1719f0" providerId="AD" clId="Web-{C3552A06-5909-6D3B-9B48-7F6146D07F3D}" dt="2023-10-30T19:44:50.566" v="104" actId="14100"/>
          <ac:spMkLst>
            <pc:docMk/>
            <pc:sldMk cId="629433230" sldId="591"/>
            <ac:spMk id="24" creationId="{82DED22A-2957-2107-97D2-7694FF88F0A5}"/>
          </ac:spMkLst>
        </pc:spChg>
        <pc:spChg chg="mod">
          <ac:chgData name="Aleena Lida Surenian" userId="S::als0813@ads.northwestern.edu::e2fd0e4e-6417-49b0-ab16-0ba26a1719f0" providerId="AD" clId="Web-{C3552A06-5909-6D3B-9B48-7F6146D07F3D}" dt="2023-10-30T19:44:55.722" v="105" actId="1076"/>
          <ac:spMkLst>
            <pc:docMk/>
            <pc:sldMk cId="629433230" sldId="591"/>
            <ac:spMk id="26" creationId="{7ADA2A22-B85F-E8A9-52B3-7FA1A111EB25}"/>
          </ac:spMkLst>
        </pc:spChg>
      </pc:sldChg>
      <pc:sldChg chg="mod modShow">
        <pc:chgData name="Aleena Lida Surenian" userId="S::als0813@ads.northwestern.edu::e2fd0e4e-6417-49b0-ab16-0ba26a1719f0" providerId="AD" clId="Web-{C3552A06-5909-6D3B-9B48-7F6146D07F3D}" dt="2023-10-30T19:17:10.971" v="14"/>
        <pc:sldMkLst>
          <pc:docMk/>
          <pc:sldMk cId="2628065282" sldId="597"/>
        </pc:sldMkLst>
      </pc:sldChg>
      <pc:sldChg chg="mod modShow">
        <pc:chgData name="Aleena Lida Surenian" userId="S::als0813@ads.northwestern.edu::e2fd0e4e-6417-49b0-ab16-0ba26a1719f0" providerId="AD" clId="Web-{C3552A06-5909-6D3B-9B48-7F6146D07F3D}" dt="2023-10-30T19:16:52.439" v="13"/>
        <pc:sldMkLst>
          <pc:docMk/>
          <pc:sldMk cId="1478149357" sldId="598"/>
        </pc:sldMkLst>
      </pc:sldChg>
      <pc:sldChg chg="modSp">
        <pc:chgData name="Aleena Lida Surenian" userId="S::als0813@ads.northwestern.edu::e2fd0e4e-6417-49b0-ab16-0ba26a1719f0" providerId="AD" clId="Web-{C3552A06-5909-6D3B-9B48-7F6146D07F3D}" dt="2023-10-30T19:19:19.586" v="17"/>
        <pc:sldMkLst>
          <pc:docMk/>
          <pc:sldMk cId="2470795492" sldId="599"/>
        </pc:sldMkLst>
        <pc:spChg chg="mod">
          <ac:chgData name="Aleena Lida Surenian" userId="S::als0813@ads.northwestern.edu::e2fd0e4e-6417-49b0-ab16-0ba26a1719f0" providerId="AD" clId="Web-{C3552A06-5909-6D3B-9B48-7F6146D07F3D}" dt="2023-10-30T19:19:19.586" v="17"/>
          <ac:spMkLst>
            <pc:docMk/>
            <pc:sldMk cId="2470795492" sldId="599"/>
            <ac:spMk id="16386" creationId="{00000000-0000-0000-0000-000000000000}"/>
          </ac:spMkLst>
        </pc:spChg>
      </pc:sldChg>
      <pc:sldChg chg="modSp">
        <pc:chgData name="Aleena Lida Surenian" userId="S::als0813@ads.northwestern.edu::e2fd0e4e-6417-49b0-ab16-0ba26a1719f0" providerId="AD" clId="Web-{C3552A06-5909-6D3B-9B48-7F6146D07F3D}" dt="2023-10-30T19:19:10.882" v="16"/>
        <pc:sldMkLst>
          <pc:docMk/>
          <pc:sldMk cId="2592767400" sldId="600"/>
        </pc:sldMkLst>
        <pc:spChg chg="mod">
          <ac:chgData name="Aleena Lida Surenian" userId="S::als0813@ads.northwestern.edu::e2fd0e4e-6417-49b0-ab16-0ba26a1719f0" providerId="AD" clId="Web-{C3552A06-5909-6D3B-9B48-7F6146D07F3D}" dt="2023-10-30T19:19:10.882" v="16"/>
          <ac:spMkLst>
            <pc:docMk/>
            <pc:sldMk cId="2592767400" sldId="600"/>
            <ac:spMk id="16386" creationId="{00000000-0000-0000-0000-000000000000}"/>
          </ac:spMkLst>
        </pc:spChg>
      </pc:sldChg>
      <pc:sldChg chg="modSp">
        <pc:chgData name="Aleena Lida Surenian" userId="S::als0813@ads.northwestern.edu::e2fd0e4e-6417-49b0-ab16-0ba26a1719f0" providerId="AD" clId="Web-{C3552A06-5909-6D3B-9B48-7F6146D07F3D}" dt="2023-10-30T19:17:40.566" v="15"/>
        <pc:sldMkLst>
          <pc:docMk/>
          <pc:sldMk cId="1011826885" sldId="602"/>
        </pc:sldMkLst>
        <pc:spChg chg="mod">
          <ac:chgData name="Aleena Lida Surenian" userId="S::als0813@ads.northwestern.edu::e2fd0e4e-6417-49b0-ab16-0ba26a1719f0" providerId="AD" clId="Web-{C3552A06-5909-6D3B-9B48-7F6146D07F3D}" dt="2023-10-30T19:17:40.566" v="15"/>
          <ac:spMkLst>
            <pc:docMk/>
            <pc:sldMk cId="1011826885" sldId="602"/>
            <ac:spMk id="16386" creationId="{00000000-0000-0000-0000-000000000000}"/>
          </ac:spMkLst>
        </pc:spChg>
      </pc:sldChg>
      <pc:sldChg chg="ord">
        <pc:chgData name="Aleena Lida Surenian" userId="S::als0813@ads.northwestern.edu::e2fd0e4e-6417-49b0-ab16-0ba26a1719f0" providerId="AD" clId="Web-{C3552A06-5909-6D3B-9B48-7F6146D07F3D}" dt="2023-10-30T19:24:26.644" v="19"/>
        <pc:sldMkLst>
          <pc:docMk/>
          <pc:sldMk cId="3726638559" sldId="616"/>
        </pc:sldMkLst>
      </pc:sldChg>
      <pc:sldChg chg="modSp new">
        <pc:chgData name="Aleena Lida Surenian" userId="S::als0813@ads.northwestern.edu::e2fd0e4e-6417-49b0-ab16-0ba26a1719f0" providerId="AD" clId="Web-{C3552A06-5909-6D3B-9B48-7F6146D07F3D}" dt="2023-10-30T19:29:50.454" v="27" actId="20577"/>
        <pc:sldMkLst>
          <pc:docMk/>
          <pc:sldMk cId="3321596273" sldId="640"/>
        </pc:sldMkLst>
        <pc:spChg chg="mod">
          <ac:chgData name="Aleena Lida Surenian" userId="S::als0813@ads.northwestern.edu::e2fd0e4e-6417-49b0-ab16-0ba26a1719f0" providerId="AD" clId="Web-{C3552A06-5909-6D3B-9B48-7F6146D07F3D}" dt="2023-10-30T19:29:50.454" v="27" actId="20577"/>
          <ac:spMkLst>
            <pc:docMk/>
            <pc:sldMk cId="3321596273" sldId="640"/>
            <ac:spMk id="2" creationId="{ED485DCA-3B68-AC74-53C8-6A271DAAA7B7}"/>
          </ac:spMkLst>
        </pc:spChg>
      </pc:sldChg>
      <pc:sldChg chg="modSp new">
        <pc:chgData name="Aleena Lida Surenian" userId="S::als0813@ads.northwestern.edu::e2fd0e4e-6417-49b0-ab16-0ba26a1719f0" providerId="AD" clId="Web-{C3552A06-5909-6D3B-9B48-7F6146D07F3D}" dt="2023-10-30T19:30:34.611" v="51" actId="20577"/>
        <pc:sldMkLst>
          <pc:docMk/>
          <pc:sldMk cId="2460321206" sldId="641"/>
        </pc:sldMkLst>
        <pc:spChg chg="mod">
          <ac:chgData name="Aleena Lida Surenian" userId="S::als0813@ads.northwestern.edu::e2fd0e4e-6417-49b0-ab16-0ba26a1719f0" providerId="AD" clId="Web-{C3552A06-5909-6D3B-9B48-7F6146D07F3D}" dt="2023-10-30T19:30:34.611" v="51" actId="20577"/>
          <ac:spMkLst>
            <pc:docMk/>
            <pc:sldMk cId="2460321206" sldId="641"/>
            <ac:spMk id="2" creationId="{F341808F-A4FF-102A-993E-7096843D4FE9}"/>
          </ac:spMkLst>
        </pc:spChg>
      </pc:sldChg>
      <pc:sldChg chg="modSp new">
        <pc:chgData name="Aleena Lida Surenian" userId="S::als0813@ads.northwestern.edu::e2fd0e4e-6417-49b0-ab16-0ba26a1719f0" providerId="AD" clId="Web-{C3552A06-5909-6D3B-9B48-7F6146D07F3D}" dt="2023-10-30T19:37:13.486" v="103" actId="20577"/>
        <pc:sldMkLst>
          <pc:docMk/>
          <pc:sldMk cId="113281680" sldId="642"/>
        </pc:sldMkLst>
        <pc:spChg chg="mod">
          <ac:chgData name="Aleena Lida Surenian" userId="S::als0813@ads.northwestern.edu::e2fd0e4e-6417-49b0-ab16-0ba26a1719f0" providerId="AD" clId="Web-{C3552A06-5909-6D3B-9B48-7F6146D07F3D}" dt="2023-10-30T19:37:13.486" v="103" actId="20577"/>
          <ac:spMkLst>
            <pc:docMk/>
            <pc:sldMk cId="113281680" sldId="642"/>
            <ac:spMk id="2" creationId="{F4AFEDD1-1B2F-10C8-9EFB-EFBD0CAB6989}"/>
          </ac:spMkLst>
        </pc:spChg>
      </pc:sldChg>
    </pc:docChg>
  </pc:docChgLst>
  <pc:docChgLst>
    <pc:chgData name="Eileen Fleming Suse" userId="S::efs3844@ads.northwestern.edu::725c94ef-d051-42d7-9d33-8572765d592b" providerId="AD" clId="Web-{305AC9D0-E55A-2A1E-F2E7-EBEA3644D9AC}"/>
    <pc:docChg chg="addSld modSld sldOrd">
      <pc:chgData name="Eileen Fleming Suse" userId="S::efs3844@ads.northwestern.edu::725c94ef-d051-42d7-9d33-8572765d592b" providerId="AD" clId="Web-{305AC9D0-E55A-2A1E-F2E7-EBEA3644D9AC}" dt="2023-10-24T16:00:52.345" v="55" actId="20577"/>
      <pc:docMkLst>
        <pc:docMk/>
      </pc:docMkLst>
      <pc:sldChg chg="modSp">
        <pc:chgData name="Eileen Fleming Suse" userId="S::efs3844@ads.northwestern.edu::725c94ef-d051-42d7-9d33-8572765d592b" providerId="AD" clId="Web-{305AC9D0-E55A-2A1E-F2E7-EBEA3644D9AC}" dt="2023-10-24T14:55:17.582" v="21" actId="20577"/>
        <pc:sldMkLst>
          <pc:docMk/>
          <pc:sldMk cId="1522616096" sldId="555"/>
        </pc:sldMkLst>
        <pc:spChg chg="mod">
          <ac:chgData name="Eileen Fleming Suse" userId="S::efs3844@ads.northwestern.edu::725c94ef-d051-42d7-9d33-8572765d592b" providerId="AD" clId="Web-{305AC9D0-E55A-2A1E-F2E7-EBEA3644D9AC}" dt="2023-10-24T14:55:17.582" v="21" actId="20577"/>
          <ac:spMkLst>
            <pc:docMk/>
            <pc:sldMk cId="1522616096" sldId="555"/>
            <ac:spMk id="4" creationId="{3D49CA6C-78ED-3124-7EE3-BBDDC9988910}"/>
          </ac:spMkLst>
        </pc:spChg>
      </pc:sldChg>
      <pc:sldChg chg="ord">
        <pc:chgData name="Eileen Fleming Suse" userId="S::efs3844@ads.northwestern.edu::725c94ef-d051-42d7-9d33-8572765d592b" providerId="AD" clId="Web-{305AC9D0-E55A-2A1E-F2E7-EBEA3644D9AC}" dt="2023-10-24T14:49:32.836" v="11"/>
        <pc:sldMkLst>
          <pc:docMk/>
          <pc:sldMk cId="773696652" sldId="558"/>
        </pc:sldMkLst>
      </pc:sldChg>
      <pc:sldChg chg="delSp modSp">
        <pc:chgData name="Eileen Fleming Suse" userId="S::efs3844@ads.northwestern.edu::725c94ef-d051-42d7-9d33-8572765d592b" providerId="AD" clId="Web-{305AC9D0-E55A-2A1E-F2E7-EBEA3644D9AC}" dt="2023-10-24T14:58:02.213" v="32" actId="14100"/>
        <pc:sldMkLst>
          <pc:docMk/>
          <pc:sldMk cId="3845418986" sldId="563"/>
        </pc:sldMkLst>
        <pc:spChg chg="del">
          <ac:chgData name="Eileen Fleming Suse" userId="S::efs3844@ads.northwestern.edu::725c94ef-d051-42d7-9d33-8572765d592b" providerId="AD" clId="Web-{305AC9D0-E55A-2A1E-F2E7-EBEA3644D9AC}" dt="2023-10-24T14:42:11.618" v="5"/>
          <ac:spMkLst>
            <pc:docMk/>
            <pc:sldMk cId="3845418986" sldId="563"/>
            <ac:spMk id="30" creationId="{00000000-0000-0000-0000-000000000000}"/>
          </ac:spMkLst>
        </pc:spChg>
        <pc:spChg chg="mod">
          <ac:chgData name="Eileen Fleming Suse" userId="S::efs3844@ads.northwestern.edu::725c94ef-d051-42d7-9d33-8572765d592b" providerId="AD" clId="Web-{305AC9D0-E55A-2A1E-F2E7-EBEA3644D9AC}" dt="2023-10-24T14:58:02.213" v="32" actId="14100"/>
          <ac:spMkLst>
            <pc:docMk/>
            <pc:sldMk cId="3845418986" sldId="563"/>
            <ac:spMk id="31" creationId="{00000000-0000-0000-0000-000000000000}"/>
          </ac:spMkLst>
        </pc:spChg>
        <pc:spChg chg="mod">
          <ac:chgData name="Eileen Fleming Suse" userId="S::efs3844@ads.northwestern.edu::725c94ef-d051-42d7-9d33-8572765d592b" providerId="AD" clId="Web-{305AC9D0-E55A-2A1E-F2E7-EBEA3644D9AC}" dt="2023-10-24T14:57:07.008" v="23"/>
          <ac:spMkLst>
            <pc:docMk/>
            <pc:sldMk cId="3845418986" sldId="563"/>
            <ac:spMk id="39" creationId="{00000000-0000-0000-0000-000000000000}"/>
          </ac:spMkLst>
        </pc:spChg>
        <pc:spChg chg="mod">
          <ac:chgData name="Eileen Fleming Suse" userId="S::efs3844@ads.northwestern.edu::725c94ef-d051-42d7-9d33-8572765d592b" providerId="AD" clId="Web-{305AC9D0-E55A-2A1E-F2E7-EBEA3644D9AC}" dt="2023-10-24T14:11:52.821" v="1" actId="20577"/>
          <ac:spMkLst>
            <pc:docMk/>
            <pc:sldMk cId="3845418986" sldId="563"/>
            <ac:spMk id="45" creationId="{00000000-0000-0000-0000-000000000000}"/>
          </ac:spMkLst>
        </pc:spChg>
        <pc:spChg chg="mod">
          <ac:chgData name="Eileen Fleming Suse" userId="S::efs3844@ads.northwestern.edu::725c94ef-d051-42d7-9d33-8572765d592b" providerId="AD" clId="Web-{305AC9D0-E55A-2A1E-F2E7-EBEA3644D9AC}" dt="2023-10-24T14:46:06.860" v="9" actId="1076"/>
          <ac:spMkLst>
            <pc:docMk/>
            <pc:sldMk cId="3845418986" sldId="563"/>
            <ac:spMk id="46" creationId="{00000000-0000-0000-0000-000000000000}"/>
          </ac:spMkLst>
        </pc:spChg>
      </pc:sldChg>
      <pc:sldChg chg="modSp">
        <pc:chgData name="Eileen Fleming Suse" userId="S::efs3844@ads.northwestern.edu::725c94ef-d051-42d7-9d33-8572765d592b" providerId="AD" clId="Web-{305AC9D0-E55A-2A1E-F2E7-EBEA3644D9AC}" dt="2023-10-24T14:58:28.479" v="33" actId="1076"/>
        <pc:sldMkLst>
          <pc:docMk/>
          <pc:sldMk cId="1536434647" sldId="564"/>
        </pc:sldMkLst>
        <pc:spChg chg="mod">
          <ac:chgData name="Eileen Fleming Suse" userId="S::efs3844@ads.northwestern.edu::725c94ef-d051-42d7-9d33-8572765d592b" providerId="AD" clId="Web-{305AC9D0-E55A-2A1E-F2E7-EBEA3644D9AC}" dt="2023-10-24T14:57:57.791" v="31" actId="14100"/>
          <ac:spMkLst>
            <pc:docMk/>
            <pc:sldMk cId="1536434647" sldId="564"/>
            <ac:spMk id="24" creationId="{00000000-0000-0000-0000-000000000000}"/>
          </ac:spMkLst>
        </pc:spChg>
        <pc:spChg chg="mod">
          <ac:chgData name="Eileen Fleming Suse" userId="S::efs3844@ads.northwestern.edu::725c94ef-d051-42d7-9d33-8572765d592b" providerId="AD" clId="Web-{305AC9D0-E55A-2A1E-F2E7-EBEA3644D9AC}" dt="2023-10-24T14:47:22.066" v="10" actId="1076"/>
          <ac:spMkLst>
            <pc:docMk/>
            <pc:sldMk cId="1536434647" sldId="564"/>
            <ac:spMk id="27" creationId="{00000000-0000-0000-0000-000000000000}"/>
          </ac:spMkLst>
        </pc:spChg>
        <pc:spChg chg="mod">
          <ac:chgData name="Eileen Fleming Suse" userId="S::efs3844@ads.northwestern.edu::725c94ef-d051-42d7-9d33-8572765d592b" providerId="AD" clId="Web-{305AC9D0-E55A-2A1E-F2E7-EBEA3644D9AC}" dt="2023-10-24T14:46:03.360" v="8" actId="1076"/>
          <ac:spMkLst>
            <pc:docMk/>
            <pc:sldMk cId="1536434647" sldId="564"/>
            <ac:spMk id="44" creationId="{00000000-0000-0000-0000-000000000000}"/>
          </ac:spMkLst>
        </pc:spChg>
        <pc:grpChg chg="mod">
          <ac:chgData name="Eileen Fleming Suse" userId="S::efs3844@ads.northwestern.edu::725c94ef-d051-42d7-9d33-8572765d592b" providerId="AD" clId="Web-{305AC9D0-E55A-2A1E-F2E7-EBEA3644D9AC}" dt="2023-10-24T14:58:28.479" v="33" actId="1076"/>
          <ac:grpSpMkLst>
            <pc:docMk/>
            <pc:sldMk cId="1536434647" sldId="564"/>
            <ac:grpSpMk id="2" creationId="{00000000-0000-0000-0000-000000000000}"/>
          </ac:grpSpMkLst>
        </pc:grpChg>
      </pc:sldChg>
      <pc:sldChg chg="modSp">
        <pc:chgData name="Eileen Fleming Suse" userId="S::efs3844@ads.northwestern.edu::725c94ef-d051-42d7-9d33-8572765d592b" providerId="AD" clId="Web-{305AC9D0-E55A-2A1E-F2E7-EBEA3644D9AC}" dt="2023-10-24T14:12:18.463" v="4" actId="20577"/>
        <pc:sldMkLst>
          <pc:docMk/>
          <pc:sldMk cId="3004937174" sldId="565"/>
        </pc:sldMkLst>
        <pc:spChg chg="mod">
          <ac:chgData name="Eileen Fleming Suse" userId="S::efs3844@ads.northwestern.edu::725c94ef-d051-42d7-9d33-8572765d592b" providerId="AD" clId="Web-{305AC9D0-E55A-2A1E-F2E7-EBEA3644D9AC}" dt="2023-10-24T14:12:03.322" v="2" actId="1076"/>
          <ac:spMkLst>
            <pc:docMk/>
            <pc:sldMk cId="3004937174" sldId="565"/>
            <ac:spMk id="38" creationId="{00000000-0000-0000-0000-000000000000}"/>
          </ac:spMkLst>
        </pc:spChg>
        <pc:spChg chg="mod">
          <ac:chgData name="Eileen Fleming Suse" userId="S::efs3844@ads.northwestern.edu::725c94ef-d051-42d7-9d33-8572765d592b" providerId="AD" clId="Web-{305AC9D0-E55A-2A1E-F2E7-EBEA3644D9AC}" dt="2023-10-24T14:12:18.463" v="4" actId="20577"/>
          <ac:spMkLst>
            <pc:docMk/>
            <pc:sldMk cId="3004937174" sldId="565"/>
            <ac:spMk id="41" creationId="{00000000-0000-0000-0000-000000000000}"/>
          </ac:spMkLst>
        </pc:spChg>
      </pc:sldChg>
      <pc:sldChg chg="modSp">
        <pc:chgData name="Eileen Fleming Suse" userId="S::efs3844@ads.northwestern.edu::725c94ef-d051-42d7-9d33-8572765d592b" providerId="AD" clId="Web-{305AC9D0-E55A-2A1E-F2E7-EBEA3644D9AC}" dt="2023-10-24T15:20:09.868" v="39" actId="14100"/>
        <pc:sldMkLst>
          <pc:docMk/>
          <pc:sldMk cId="2564870475" sldId="566"/>
        </pc:sldMkLst>
        <pc:spChg chg="mod">
          <ac:chgData name="Eileen Fleming Suse" userId="S::efs3844@ads.northwestern.edu::725c94ef-d051-42d7-9d33-8572765d592b" providerId="AD" clId="Web-{305AC9D0-E55A-2A1E-F2E7-EBEA3644D9AC}" dt="2023-10-24T15:20:07.305" v="38" actId="14100"/>
          <ac:spMkLst>
            <pc:docMk/>
            <pc:sldMk cId="2564870475" sldId="566"/>
            <ac:spMk id="23" creationId="{78B5A3B7-0107-74A6-42BE-EFADF14BEC3D}"/>
          </ac:spMkLst>
        </pc:spChg>
        <pc:picChg chg="mod">
          <ac:chgData name="Eileen Fleming Suse" userId="S::efs3844@ads.northwestern.edu::725c94ef-d051-42d7-9d33-8572765d592b" providerId="AD" clId="Web-{305AC9D0-E55A-2A1E-F2E7-EBEA3644D9AC}" dt="2023-10-24T15:20:09.868" v="39" actId="14100"/>
          <ac:picMkLst>
            <pc:docMk/>
            <pc:sldMk cId="2564870475" sldId="566"/>
            <ac:picMk id="24" creationId="{BB2CB55F-0790-7175-FF6E-777FF2A900CC}"/>
          </ac:picMkLst>
        </pc:picChg>
      </pc:sldChg>
      <pc:sldChg chg="addSp modSp new ord">
        <pc:chgData name="Eileen Fleming Suse" userId="S::efs3844@ads.northwestern.edu::725c94ef-d051-42d7-9d33-8572765d592b" providerId="AD" clId="Web-{305AC9D0-E55A-2A1E-F2E7-EBEA3644D9AC}" dt="2023-10-24T16:00:52.345" v="55" actId="20577"/>
        <pc:sldMkLst>
          <pc:docMk/>
          <pc:sldMk cId="1415571005" sldId="572"/>
        </pc:sldMkLst>
        <pc:spChg chg="add mod">
          <ac:chgData name="Eileen Fleming Suse" userId="S::efs3844@ads.northwestern.edu::725c94ef-d051-42d7-9d33-8572765d592b" providerId="AD" clId="Web-{305AC9D0-E55A-2A1E-F2E7-EBEA3644D9AC}" dt="2023-10-24T14:57:43.493" v="30" actId="14100"/>
          <ac:spMkLst>
            <pc:docMk/>
            <pc:sldMk cId="1415571005" sldId="572"/>
            <ac:spMk id="3" creationId="{E8766EA8-8D1C-74B1-60F2-6EE8D7D1A899}"/>
          </ac:spMkLst>
        </pc:spChg>
        <pc:spChg chg="add">
          <ac:chgData name="Eileen Fleming Suse" userId="S::efs3844@ads.northwestern.edu::725c94ef-d051-42d7-9d33-8572765d592b" providerId="AD" clId="Web-{305AC9D0-E55A-2A1E-F2E7-EBEA3644D9AC}" dt="2023-10-24T14:57:27.180" v="25"/>
          <ac:spMkLst>
            <pc:docMk/>
            <pc:sldMk cId="1415571005" sldId="572"/>
            <ac:spMk id="5" creationId="{5240BE87-4D13-BF3F-4932-9D8B2973FA85}"/>
          </ac:spMkLst>
        </pc:spChg>
        <pc:spChg chg="add">
          <ac:chgData name="Eileen Fleming Suse" userId="S::efs3844@ads.northwestern.edu::725c94ef-d051-42d7-9d33-8572765d592b" providerId="AD" clId="Web-{305AC9D0-E55A-2A1E-F2E7-EBEA3644D9AC}" dt="2023-10-24T14:57:27.196" v="26"/>
          <ac:spMkLst>
            <pc:docMk/>
            <pc:sldMk cId="1415571005" sldId="572"/>
            <ac:spMk id="7" creationId="{7F9321C2-D073-586B-B5DF-9C86117F7744}"/>
          </ac:spMkLst>
        </pc:spChg>
        <pc:spChg chg="add">
          <ac:chgData name="Eileen Fleming Suse" userId="S::efs3844@ads.northwestern.edu::725c94ef-d051-42d7-9d33-8572765d592b" providerId="AD" clId="Web-{305AC9D0-E55A-2A1E-F2E7-EBEA3644D9AC}" dt="2023-10-24T14:57:27.196" v="27"/>
          <ac:spMkLst>
            <pc:docMk/>
            <pc:sldMk cId="1415571005" sldId="572"/>
            <ac:spMk id="9" creationId="{E7EFA955-A8BB-A26D-68E1-96464B4A257F}"/>
          </ac:spMkLst>
        </pc:spChg>
        <pc:spChg chg="add">
          <ac:chgData name="Eileen Fleming Suse" userId="S::efs3844@ads.northwestern.edu::725c94ef-d051-42d7-9d33-8572765d592b" providerId="AD" clId="Web-{305AC9D0-E55A-2A1E-F2E7-EBEA3644D9AC}" dt="2023-10-24T14:57:27.212" v="28"/>
          <ac:spMkLst>
            <pc:docMk/>
            <pc:sldMk cId="1415571005" sldId="572"/>
            <ac:spMk id="11" creationId="{B192D65E-14E1-EAD3-E7D3-2EE53AA7B5BD}"/>
          </ac:spMkLst>
        </pc:spChg>
        <pc:spChg chg="add">
          <ac:chgData name="Eileen Fleming Suse" userId="S::efs3844@ads.northwestern.edu::725c94ef-d051-42d7-9d33-8572765d592b" providerId="AD" clId="Web-{305AC9D0-E55A-2A1E-F2E7-EBEA3644D9AC}" dt="2023-10-24T14:57:39.181" v="29"/>
          <ac:spMkLst>
            <pc:docMk/>
            <pc:sldMk cId="1415571005" sldId="572"/>
            <ac:spMk id="13" creationId="{6052322E-FB3E-BFB4-5E31-14610EA9827E}"/>
          </ac:spMkLst>
        </pc:spChg>
        <pc:spChg chg="add mod">
          <ac:chgData name="Eileen Fleming Suse" userId="S::efs3844@ads.northwestern.edu::725c94ef-d051-42d7-9d33-8572765d592b" providerId="AD" clId="Web-{305AC9D0-E55A-2A1E-F2E7-EBEA3644D9AC}" dt="2023-10-24T16:00:52.345" v="55" actId="20577"/>
          <ac:spMkLst>
            <pc:docMk/>
            <pc:sldMk cId="1415571005" sldId="572"/>
            <ac:spMk id="14" creationId="{C16CF44D-7798-4583-BFDB-87260C98EA94}"/>
          </ac:spMkLst>
        </pc:spChg>
      </pc:sldChg>
      <pc:sldChg chg="modSp add replId">
        <pc:chgData name="Eileen Fleming Suse" userId="S::efs3844@ads.northwestern.edu::725c94ef-d051-42d7-9d33-8572765d592b" providerId="AD" clId="Web-{305AC9D0-E55A-2A1E-F2E7-EBEA3644D9AC}" dt="2023-10-24T15:14:54.982" v="35" actId="1076"/>
        <pc:sldMkLst>
          <pc:docMk/>
          <pc:sldMk cId="2901982042" sldId="573"/>
        </pc:sldMkLst>
        <pc:spChg chg="mod">
          <ac:chgData name="Eileen Fleming Suse" userId="S::efs3844@ads.northwestern.edu::725c94ef-d051-42d7-9d33-8572765d592b" providerId="AD" clId="Web-{305AC9D0-E55A-2A1E-F2E7-EBEA3644D9AC}" dt="2023-10-24T15:14:54.982" v="35" actId="1076"/>
          <ac:spMkLst>
            <pc:docMk/>
            <pc:sldMk cId="2901982042" sldId="573"/>
            <ac:spMk id="28" creationId="{00000000-0000-0000-0000-000000000000}"/>
          </ac:spMkLst>
        </pc:spChg>
      </pc:sldChg>
    </pc:docChg>
  </pc:docChgLst>
  <pc:docChgLst>
    <pc:chgData name="Eileen Fleming Suse" userId="S::efs3844@ads.northwestern.edu::725c94ef-d051-42d7-9d33-8572765d592b" providerId="AD" clId="Web-{FFAD42E9-C519-11DF-E299-D524098D897E}"/>
    <pc:docChg chg="addSld modSld">
      <pc:chgData name="Eileen Fleming Suse" userId="S::efs3844@ads.northwestern.edu::725c94ef-d051-42d7-9d33-8572765d592b" providerId="AD" clId="Web-{FFAD42E9-C519-11DF-E299-D524098D897E}" dt="2023-10-24T02:47:59.133" v="27" actId="14100"/>
      <pc:docMkLst>
        <pc:docMk/>
      </pc:docMkLst>
      <pc:sldChg chg="add">
        <pc:chgData name="Eileen Fleming Suse" userId="S::efs3844@ads.northwestern.edu::725c94ef-d051-42d7-9d33-8572765d592b" providerId="AD" clId="Web-{FFAD42E9-C519-11DF-E299-D524098D897E}" dt="2023-10-24T02:45:56.550" v="0"/>
        <pc:sldMkLst>
          <pc:docMk/>
          <pc:sldMk cId="3845418986" sldId="563"/>
        </pc:sldMkLst>
      </pc:sldChg>
      <pc:sldChg chg="modSp add">
        <pc:chgData name="Eileen Fleming Suse" userId="S::efs3844@ads.northwestern.edu::725c94ef-d051-42d7-9d33-8572765d592b" providerId="AD" clId="Web-{FFAD42E9-C519-11DF-E299-D524098D897E}" dt="2023-10-24T02:47:04.615" v="20" actId="1076"/>
        <pc:sldMkLst>
          <pc:docMk/>
          <pc:sldMk cId="1536434647" sldId="564"/>
        </pc:sldMkLst>
        <pc:spChg chg="mod">
          <ac:chgData name="Eileen Fleming Suse" userId="S::efs3844@ads.northwestern.edu::725c94ef-d051-42d7-9d33-8572765d592b" providerId="AD" clId="Web-{FFAD42E9-C519-11DF-E299-D524098D897E}" dt="2023-10-24T02:46:24.114" v="5" actId="20577"/>
          <ac:spMkLst>
            <pc:docMk/>
            <pc:sldMk cId="1536434647" sldId="564"/>
            <ac:spMk id="39" creationId="{00000000-0000-0000-0000-000000000000}"/>
          </ac:spMkLst>
        </pc:spChg>
        <pc:spChg chg="mod">
          <ac:chgData name="Eileen Fleming Suse" userId="S::efs3844@ads.northwestern.edu::725c94ef-d051-42d7-9d33-8572765d592b" providerId="AD" clId="Web-{FFAD42E9-C519-11DF-E299-D524098D897E}" dt="2023-10-24T02:46:41.583" v="12" actId="20577"/>
          <ac:spMkLst>
            <pc:docMk/>
            <pc:sldMk cId="1536434647" sldId="564"/>
            <ac:spMk id="41" creationId="{00000000-0000-0000-0000-000000000000}"/>
          </ac:spMkLst>
        </pc:spChg>
        <pc:spChg chg="mod">
          <ac:chgData name="Eileen Fleming Suse" userId="S::efs3844@ads.northwestern.edu::725c94ef-d051-42d7-9d33-8572765d592b" providerId="AD" clId="Web-{FFAD42E9-C519-11DF-E299-D524098D897E}" dt="2023-10-24T02:46:54.552" v="18" actId="20577"/>
          <ac:spMkLst>
            <pc:docMk/>
            <pc:sldMk cId="1536434647" sldId="564"/>
            <ac:spMk id="43" creationId="{00000000-0000-0000-0000-000000000000}"/>
          </ac:spMkLst>
        </pc:spChg>
        <pc:spChg chg="mod">
          <ac:chgData name="Eileen Fleming Suse" userId="S::efs3844@ads.northwestern.edu::725c94ef-d051-42d7-9d33-8572765d592b" providerId="AD" clId="Web-{FFAD42E9-C519-11DF-E299-D524098D897E}" dt="2023-10-24T02:47:04.615" v="20" actId="1076"/>
          <ac:spMkLst>
            <pc:docMk/>
            <pc:sldMk cId="1536434647" sldId="564"/>
            <ac:spMk id="47" creationId="{00000000-0000-0000-0000-000000000000}"/>
          </ac:spMkLst>
        </pc:spChg>
      </pc:sldChg>
      <pc:sldChg chg="modSp add">
        <pc:chgData name="Eileen Fleming Suse" userId="S::efs3844@ads.northwestern.edu::725c94ef-d051-42d7-9d33-8572765d592b" providerId="AD" clId="Web-{FFAD42E9-C519-11DF-E299-D524098D897E}" dt="2023-10-24T02:47:59.133" v="27" actId="14100"/>
        <pc:sldMkLst>
          <pc:docMk/>
          <pc:sldMk cId="3004937174" sldId="565"/>
        </pc:sldMkLst>
        <pc:spChg chg="mod">
          <ac:chgData name="Eileen Fleming Suse" userId="S::efs3844@ads.northwestern.edu::725c94ef-d051-42d7-9d33-8572765d592b" providerId="AD" clId="Web-{FFAD42E9-C519-11DF-E299-D524098D897E}" dt="2023-10-24T02:47:55.679" v="26" actId="1076"/>
          <ac:spMkLst>
            <pc:docMk/>
            <pc:sldMk cId="3004937174" sldId="565"/>
            <ac:spMk id="33" creationId="{00000000-0000-0000-0000-000000000000}"/>
          </ac:spMkLst>
        </pc:spChg>
        <pc:spChg chg="mod">
          <ac:chgData name="Eileen Fleming Suse" userId="S::efs3844@ads.northwestern.edu::725c94ef-d051-42d7-9d33-8572765d592b" providerId="AD" clId="Web-{FFAD42E9-C519-11DF-E299-D524098D897E}" dt="2023-10-24T02:47:59.133" v="27" actId="14100"/>
          <ac:spMkLst>
            <pc:docMk/>
            <pc:sldMk cId="3004937174" sldId="565"/>
            <ac:spMk id="35" creationId="{00000000-0000-0000-0000-000000000000}"/>
          </ac:spMkLst>
        </pc:spChg>
        <pc:spChg chg="mod">
          <ac:chgData name="Eileen Fleming Suse" userId="S::efs3844@ads.northwestern.edu::725c94ef-d051-42d7-9d33-8572765d592b" providerId="AD" clId="Web-{FFAD42E9-C519-11DF-E299-D524098D897E}" dt="2023-10-24T02:47:35.194" v="22" actId="20577"/>
          <ac:spMkLst>
            <pc:docMk/>
            <pc:sldMk cId="3004937174" sldId="565"/>
            <ac:spMk id="37" creationId="{00000000-0000-0000-0000-000000000000}"/>
          </ac:spMkLst>
        </pc:spChg>
        <pc:spChg chg="mod">
          <ac:chgData name="Eileen Fleming Suse" userId="S::efs3844@ads.northwestern.edu::725c94ef-d051-42d7-9d33-8572765d592b" providerId="AD" clId="Web-{FFAD42E9-C519-11DF-E299-D524098D897E}" dt="2023-10-24T02:47:45.913" v="24" actId="20577"/>
          <ac:spMkLst>
            <pc:docMk/>
            <pc:sldMk cId="3004937174" sldId="565"/>
            <ac:spMk id="40" creationId="{00000000-0000-0000-0000-000000000000}"/>
          </ac:spMkLst>
        </pc:spChg>
      </pc:sldChg>
    </pc:docChg>
  </pc:docChgLst>
  <pc:docChgLst>
    <pc:chgData name="Eileen Fleming Suse" userId="S::efs3844@ads.northwestern.edu::725c94ef-d051-42d7-9d33-8572765d592b" providerId="AD" clId="Web-{BFC87AA7-C8F9-9EFC-19DD-EB23F26608F3}"/>
    <pc:docChg chg="modSld">
      <pc:chgData name="Eileen Fleming Suse" userId="S::efs3844@ads.northwestern.edu::725c94ef-d051-42d7-9d33-8572765d592b" providerId="AD" clId="Web-{BFC87AA7-C8F9-9EFC-19DD-EB23F26608F3}" dt="2023-11-16T22:57:07.054" v="22"/>
      <pc:docMkLst>
        <pc:docMk/>
      </pc:docMkLst>
      <pc:sldChg chg="addSp modSp">
        <pc:chgData name="Eileen Fleming Suse" userId="S::efs3844@ads.northwestern.edu::725c94ef-d051-42d7-9d33-8572765d592b" providerId="AD" clId="Web-{BFC87AA7-C8F9-9EFC-19DD-EB23F26608F3}" dt="2023-11-16T22:57:07.054" v="22"/>
        <pc:sldMkLst>
          <pc:docMk/>
          <pc:sldMk cId="3336998141" sldId="681"/>
        </pc:sldMkLst>
        <pc:spChg chg="mod">
          <ac:chgData name="Eileen Fleming Suse" userId="S::efs3844@ads.northwestern.edu::725c94ef-d051-42d7-9d33-8572765d592b" providerId="AD" clId="Web-{BFC87AA7-C8F9-9EFC-19DD-EB23F26608F3}" dt="2023-11-16T22:56:57.851" v="20" actId="14100"/>
          <ac:spMkLst>
            <pc:docMk/>
            <pc:sldMk cId="3336998141" sldId="681"/>
            <ac:spMk id="3" creationId="{00000000-0000-0000-0000-000000000000}"/>
          </ac:spMkLst>
        </pc:spChg>
        <pc:picChg chg="add mod">
          <ac:chgData name="Eileen Fleming Suse" userId="S::efs3844@ads.northwestern.edu::725c94ef-d051-42d7-9d33-8572765d592b" providerId="AD" clId="Web-{BFC87AA7-C8F9-9EFC-19DD-EB23F26608F3}" dt="2023-11-16T22:57:07.054" v="22"/>
          <ac:picMkLst>
            <pc:docMk/>
            <pc:sldMk cId="3336998141" sldId="681"/>
            <ac:picMk id="6" creationId="{46F42E17-0175-F9A2-1E13-137F29CD08FF}"/>
          </ac:picMkLst>
        </pc:picChg>
      </pc:sldChg>
      <pc:sldChg chg="addSp delSp modSp mod setBg">
        <pc:chgData name="Eileen Fleming Suse" userId="S::efs3844@ads.northwestern.edu::725c94ef-d051-42d7-9d33-8572765d592b" providerId="AD" clId="Web-{BFC87AA7-C8F9-9EFC-19DD-EB23F26608F3}" dt="2023-11-16T22:50:39.623" v="3"/>
        <pc:sldMkLst>
          <pc:docMk/>
          <pc:sldMk cId="2646520615" sldId="683"/>
        </pc:sldMkLst>
        <pc:spChg chg="mod">
          <ac:chgData name="Eileen Fleming Suse" userId="S::efs3844@ads.northwestern.edu::725c94ef-d051-42d7-9d33-8572765d592b" providerId="AD" clId="Web-{BFC87AA7-C8F9-9EFC-19DD-EB23F26608F3}" dt="2023-11-16T22:49:21.824" v="1"/>
          <ac:spMkLst>
            <pc:docMk/>
            <pc:sldMk cId="2646520615" sldId="683"/>
            <ac:spMk id="2" creationId="{00000000-0000-0000-0000-000000000000}"/>
          </ac:spMkLst>
        </pc:spChg>
        <pc:spChg chg="del">
          <ac:chgData name="Eileen Fleming Suse" userId="S::efs3844@ads.northwestern.edu::725c94ef-d051-42d7-9d33-8572765d592b" providerId="AD" clId="Web-{BFC87AA7-C8F9-9EFC-19DD-EB23F26608F3}" dt="2023-11-16T22:49:21.824" v="1"/>
          <ac:spMkLst>
            <pc:docMk/>
            <pc:sldMk cId="2646520615" sldId="683"/>
            <ac:spMk id="3" creationId="{00000000-0000-0000-0000-000000000000}"/>
          </ac:spMkLst>
        </pc:spChg>
        <pc:spChg chg="mod ord">
          <ac:chgData name="Eileen Fleming Suse" userId="S::efs3844@ads.northwestern.edu::725c94ef-d051-42d7-9d33-8572765d592b" providerId="AD" clId="Web-{BFC87AA7-C8F9-9EFC-19DD-EB23F26608F3}" dt="2023-11-16T22:49:21.824" v="1"/>
          <ac:spMkLst>
            <pc:docMk/>
            <pc:sldMk cId="2646520615" sldId="683"/>
            <ac:spMk id="4" creationId="{00000000-0000-0000-0000-000000000000}"/>
          </ac:spMkLst>
        </pc:spChg>
        <pc:spChg chg="mod">
          <ac:chgData name="Eileen Fleming Suse" userId="S::efs3844@ads.northwestern.edu::725c94ef-d051-42d7-9d33-8572765d592b" providerId="AD" clId="Web-{BFC87AA7-C8F9-9EFC-19DD-EB23F26608F3}" dt="2023-11-16T22:49:21.824" v="1"/>
          <ac:spMkLst>
            <pc:docMk/>
            <pc:sldMk cId="2646520615" sldId="683"/>
            <ac:spMk id="5" creationId="{00000000-0000-0000-0000-000000000000}"/>
          </ac:spMkLst>
        </pc:spChg>
        <pc:spChg chg="add">
          <ac:chgData name="Eileen Fleming Suse" userId="S::efs3844@ads.northwestern.edu::725c94ef-d051-42d7-9d33-8572765d592b" providerId="AD" clId="Web-{BFC87AA7-C8F9-9EFC-19DD-EB23F26608F3}" dt="2023-11-16T22:49:21.824" v="1"/>
          <ac:spMkLst>
            <pc:docMk/>
            <pc:sldMk cId="2646520615" sldId="683"/>
            <ac:spMk id="11" creationId="{7517A47C-B2E5-4B79-8061-D74B1311AF6E}"/>
          </ac:spMkLst>
        </pc:spChg>
        <pc:spChg chg="add">
          <ac:chgData name="Eileen Fleming Suse" userId="S::efs3844@ads.northwestern.edu::725c94ef-d051-42d7-9d33-8572765d592b" providerId="AD" clId="Web-{BFC87AA7-C8F9-9EFC-19DD-EB23F26608F3}" dt="2023-11-16T22:49:21.824" v="1"/>
          <ac:spMkLst>
            <pc:docMk/>
            <pc:sldMk cId="2646520615" sldId="683"/>
            <ac:spMk id="13" creationId="{C505E780-2083-4CB5-A42A-5E0E2908ECC3}"/>
          </ac:spMkLst>
        </pc:spChg>
        <pc:spChg chg="add">
          <ac:chgData name="Eileen Fleming Suse" userId="S::efs3844@ads.northwestern.edu::725c94ef-d051-42d7-9d33-8572765d592b" providerId="AD" clId="Web-{BFC87AA7-C8F9-9EFC-19DD-EB23F26608F3}" dt="2023-11-16T22:49:21.824" v="1"/>
          <ac:spMkLst>
            <pc:docMk/>
            <pc:sldMk cId="2646520615" sldId="683"/>
            <ac:spMk id="15" creationId="{D2C0AE1C-0118-41AE-8A10-7CDCBF10E96F}"/>
          </ac:spMkLst>
        </pc:spChg>
        <pc:spChg chg="add">
          <ac:chgData name="Eileen Fleming Suse" userId="S::efs3844@ads.northwestern.edu::725c94ef-d051-42d7-9d33-8572765d592b" providerId="AD" clId="Web-{BFC87AA7-C8F9-9EFC-19DD-EB23F26608F3}" dt="2023-11-16T22:49:21.824" v="1"/>
          <ac:spMkLst>
            <pc:docMk/>
            <pc:sldMk cId="2646520615" sldId="683"/>
            <ac:spMk id="17" creationId="{463EEC44-1BA3-44ED-81FC-A644B04B2A44}"/>
          </ac:spMkLst>
        </pc:spChg>
        <pc:graphicFrameChg chg="add modGraphic">
          <ac:chgData name="Eileen Fleming Suse" userId="S::efs3844@ads.northwestern.edu::725c94ef-d051-42d7-9d33-8572765d592b" providerId="AD" clId="Web-{BFC87AA7-C8F9-9EFC-19DD-EB23F26608F3}" dt="2023-11-16T22:50:39.623" v="3"/>
          <ac:graphicFrameMkLst>
            <pc:docMk/>
            <pc:sldMk cId="2646520615" sldId="683"/>
            <ac:graphicFrameMk id="7" creationId="{24D49A4E-BD95-5DF0-35BC-A9758FC2DA7E}"/>
          </ac:graphicFrameMkLst>
        </pc:graphicFrameChg>
      </pc:sldChg>
      <pc:sldChg chg="mod modClrScheme chgLayout">
        <pc:chgData name="Eileen Fleming Suse" userId="S::efs3844@ads.northwestern.edu::725c94ef-d051-42d7-9d33-8572765d592b" providerId="AD" clId="Web-{BFC87AA7-C8F9-9EFC-19DD-EB23F26608F3}" dt="2023-11-16T22:52:55.548" v="4"/>
        <pc:sldMkLst>
          <pc:docMk/>
          <pc:sldMk cId="441543077" sldId="686"/>
        </pc:sldMkLst>
      </pc:sldChg>
      <pc:sldChg chg="addSp delSp modSp mod setBg">
        <pc:chgData name="Eileen Fleming Suse" userId="S::efs3844@ads.northwestern.edu::725c94ef-d051-42d7-9d33-8572765d592b" providerId="AD" clId="Web-{BFC87AA7-C8F9-9EFC-19DD-EB23F26608F3}" dt="2023-11-16T22:56:01.928" v="16" actId="14100"/>
        <pc:sldMkLst>
          <pc:docMk/>
          <pc:sldMk cId="1663322964" sldId="690"/>
        </pc:sldMkLst>
        <pc:spChg chg="mod">
          <ac:chgData name="Eileen Fleming Suse" userId="S::efs3844@ads.northwestern.edu::725c94ef-d051-42d7-9d33-8572765d592b" providerId="AD" clId="Web-{BFC87AA7-C8F9-9EFC-19DD-EB23F26608F3}" dt="2023-11-16T22:55:04.880" v="14"/>
          <ac:spMkLst>
            <pc:docMk/>
            <pc:sldMk cId="1663322964" sldId="690"/>
            <ac:spMk id="2" creationId="{00000000-0000-0000-0000-000000000000}"/>
          </ac:spMkLst>
        </pc:spChg>
        <pc:spChg chg="del">
          <ac:chgData name="Eileen Fleming Suse" userId="S::efs3844@ads.northwestern.edu::725c94ef-d051-42d7-9d33-8572765d592b" providerId="AD" clId="Web-{BFC87AA7-C8F9-9EFC-19DD-EB23F26608F3}" dt="2023-11-16T22:53:54.940" v="5"/>
          <ac:spMkLst>
            <pc:docMk/>
            <pc:sldMk cId="1663322964" sldId="690"/>
            <ac:spMk id="3" creationId="{00000000-0000-0000-0000-000000000000}"/>
          </ac:spMkLst>
        </pc:spChg>
        <pc:spChg chg="mod ord">
          <ac:chgData name="Eileen Fleming Suse" userId="S::efs3844@ads.northwestern.edu::725c94ef-d051-42d7-9d33-8572765d592b" providerId="AD" clId="Web-{BFC87AA7-C8F9-9EFC-19DD-EB23F26608F3}" dt="2023-11-16T22:55:04.880" v="14"/>
          <ac:spMkLst>
            <pc:docMk/>
            <pc:sldMk cId="1663322964" sldId="690"/>
            <ac:spMk id="4" creationId="{00000000-0000-0000-0000-000000000000}"/>
          </ac:spMkLst>
        </pc:spChg>
        <pc:spChg chg="mod">
          <ac:chgData name="Eileen Fleming Suse" userId="S::efs3844@ads.northwestern.edu::725c94ef-d051-42d7-9d33-8572765d592b" providerId="AD" clId="Web-{BFC87AA7-C8F9-9EFC-19DD-EB23F26608F3}" dt="2023-11-16T22:53:54.940" v="5"/>
          <ac:spMkLst>
            <pc:docMk/>
            <pc:sldMk cId="1663322964" sldId="690"/>
            <ac:spMk id="5" creationId="{00000000-0000-0000-0000-000000000000}"/>
          </ac:spMkLst>
        </pc:spChg>
        <pc:spChg chg="add del">
          <ac:chgData name="Eileen Fleming Suse" userId="S::efs3844@ads.northwestern.edu::725c94ef-d051-42d7-9d33-8572765d592b" providerId="AD" clId="Web-{BFC87AA7-C8F9-9EFC-19DD-EB23F26608F3}" dt="2023-11-16T22:55:04.880" v="14"/>
          <ac:spMkLst>
            <pc:docMk/>
            <pc:sldMk cId="1663322964" sldId="690"/>
            <ac:spMk id="11" creationId="{81E1224E-6618-482E-BE87-321A7FC1CDE8}"/>
          </ac:spMkLst>
        </pc:spChg>
        <pc:spChg chg="add del">
          <ac:chgData name="Eileen Fleming Suse" userId="S::efs3844@ads.northwestern.edu::725c94ef-d051-42d7-9d33-8572765d592b" providerId="AD" clId="Web-{BFC87AA7-C8F9-9EFC-19DD-EB23F26608F3}" dt="2023-11-16T22:55:04.880" v="14"/>
          <ac:spMkLst>
            <pc:docMk/>
            <pc:sldMk cId="1663322964" sldId="690"/>
            <ac:spMk id="13" creationId="{066346BE-FDB4-4772-A696-0719490ABD64}"/>
          </ac:spMkLst>
        </pc:spChg>
        <pc:spChg chg="add del">
          <ac:chgData name="Eileen Fleming Suse" userId="S::efs3844@ads.northwestern.edu::725c94ef-d051-42d7-9d33-8572765d592b" providerId="AD" clId="Web-{BFC87AA7-C8F9-9EFC-19DD-EB23F26608F3}" dt="2023-11-16T22:55:04.880" v="14"/>
          <ac:spMkLst>
            <pc:docMk/>
            <pc:sldMk cId="1663322964" sldId="690"/>
            <ac:spMk id="15" creationId="{FB92FFCE-0C90-454E-AA25-D4EE9A6C39C5}"/>
          </ac:spMkLst>
        </pc:spChg>
        <pc:spChg chg="add">
          <ac:chgData name="Eileen Fleming Suse" userId="S::efs3844@ads.northwestern.edu::725c94ef-d051-42d7-9d33-8572765d592b" providerId="AD" clId="Web-{BFC87AA7-C8F9-9EFC-19DD-EB23F26608F3}" dt="2023-11-16T22:55:04.880" v="14"/>
          <ac:spMkLst>
            <pc:docMk/>
            <pc:sldMk cId="1663322964" sldId="690"/>
            <ac:spMk id="21" creationId="{7517A47C-B2E5-4B79-8061-D74B1311AF6E}"/>
          </ac:spMkLst>
        </pc:spChg>
        <pc:spChg chg="add">
          <ac:chgData name="Eileen Fleming Suse" userId="S::efs3844@ads.northwestern.edu::725c94ef-d051-42d7-9d33-8572765d592b" providerId="AD" clId="Web-{BFC87AA7-C8F9-9EFC-19DD-EB23F26608F3}" dt="2023-11-16T22:55:04.880" v="14"/>
          <ac:spMkLst>
            <pc:docMk/>
            <pc:sldMk cId="1663322964" sldId="690"/>
            <ac:spMk id="23" creationId="{C505E780-2083-4CB5-A42A-5E0E2908ECC3}"/>
          </ac:spMkLst>
        </pc:spChg>
        <pc:spChg chg="add">
          <ac:chgData name="Eileen Fleming Suse" userId="S::efs3844@ads.northwestern.edu::725c94ef-d051-42d7-9d33-8572765d592b" providerId="AD" clId="Web-{BFC87AA7-C8F9-9EFC-19DD-EB23F26608F3}" dt="2023-11-16T22:55:04.880" v="14"/>
          <ac:spMkLst>
            <pc:docMk/>
            <pc:sldMk cId="1663322964" sldId="690"/>
            <ac:spMk id="25" creationId="{D2C0AE1C-0118-41AE-8A10-7CDCBF10E96F}"/>
          </ac:spMkLst>
        </pc:spChg>
        <pc:spChg chg="add">
          <ac:chgData name="Eileen Fleming Suse" userId="S::efs3844@ads.northwestern.edu::725c94ef-d051-42d7-9d33-8572765d592b" providerId="AD" clId="Web-{BFC87AA7-C8F9-9EFC-19DD-EB23F26608F3}" dt="2023-11-16T22:55:04.880" v="14"/>
          <ac:spMkLst>
            <pc:docMk/>
            <pc:sldMk cId="1663322964" sldId="690"/>
            <ac:spMk id="27" creationId="{463EEC44-1BA3-44ED-81FC-A644B04B2A44}"/>
          </ac:spMkLst>
        </pc:spChg>
        <pc:graphicFrameChg chg="add del mod modGraphic">
          <ac:chgData name="Eileen Fleming Suse" userId="S::efs3844@ads.northwestern.edu::725c94ef-d051-42d7-9d33-8572765d592b" providerId="AD" clId="Web-{BFC87AA7-C8F9-9EFC-19DD-EB23F26608F3}" dt="2023-11-16T22:55:04.880" v="14"/>
          <ac:graphicFrameMkLst>
            <pc:docMk/>
            <pc:sldMk cId="1663322964" sldId="690"/>
            <ac:graphicFrameMk id="7" creationId="{4F9615E2-B206-CDA3-816A-1D194CA0D210}"/>
          </ac:graphicFrameMkLst>
        </pc:graphicFrameChg>
        <pc:graphicFrameChg chg="add mod">
          <ac:chgData name="Eileen Fleming Suse" userId="S::efs3844@ads.northwestern.edu::725c94ef-d051-42d7-9d33-8572765d592b" providerId="AD" clId="Web-{BFC87AA7-C8F9-9EFC-19DD-EB23F26608F3}" dt="2023-11-16T22:56:01.928" v="16" actId="14100"/>
          <ac:graphicFrameMkLst>
            <pc:docMk/>
            <pc:sldMk cId="1663322964" sldId="690"/>
            <ac:graphicFrameMk id="17" creationId="{9B647FFD-DB92-0E72-0606-A89EC41A7F93}"/>
          </ac:graphicFrameMkLst>
        </pc:graphicFrameChg>
      </pc:sldChg>
      <pc:sldChg chg="addSp modSp mod setBg">
        <pc:chgData name="Eileen Fleming Suse" userId="S::efs3844@ads.northwestern.edu::725c94ef-d051-42d7-9d33-8572765d592b" providerId="AD" clId="Web-{BFC87AA7-C8F9-9EFC-19DD-EB23F26608F3}" dt="2023-11-16T22:48:43.386" v="0"/>
        <pc:sldMkLst>
          <pc:docMk/>
          <pc:sldMk cId="1549218491" sldId="697"/>
        </pc:sldMkLst>
        <pc:spChg chg="mod">
          <ac:chgData name="Eileen Fleming Suse" userId="S::efs3844@ads.northwestern.edu::725c94ef-d051-42d7-9d33-8572765d592b" providerId="AD" clId="Web-{BFC87AA7-C8F9-9EFC-19DD-EB23F26608F3}" dt="2023-11-16T22:48:43.386" v="0"/>
          <ac:spMkLst>
            <pc:docMk/>
            <pc:sldMk cId="1549218491" sldId="697"/>
            <ac:spMk id="2"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4" creationId="{00000000-0000-0000-0000-000000000000}"/>
          </ac:spMkLst>
        </pc:spChg>
        <pc:spChg chg="mod ord">
          <ac:chgData name="Eileen Fleming Suse" userId="S::efs3844@ads.northwestern.edu::725c94ef-d051-42d7-9d33-8572765d592b" providerId="AD" clId="Web-{BFC87AA7-C8F9-9EFC-19DD-EB23F26608F3}" dt="2023-11-16T22:48:43.386" v="0"/>
          <ac:spMkLst>
            <pc:docMk/>
            <pc:sldMk cId="1549218491" sldId="697"/>
            <ac:spMk id="5" creationId="{00000000-0000-0000-0000-000000000000}"/>
          </ac:spMkLst>
        </pc:spChg>
        <pc:spChg chg="mod">
          <ac:chgData name="Eileen Fleming Suse" userId="S::efs3844@ads.northwestern.edu::725c94ef-d051-42d7-9d33-8572765d592b" providerId="AD" clId="Web-{BFC87AA7-C8F9-9EFC-19DD-EB23F26608F3}" dt="2023-11-16T22:48:43.386" v="0"/>
          <ac:spMkLst>
            <pc:docMk/>
            <pc:sldMk cId="1549218491" sldId="697"/>
            <ac:spMk id="10" creationId="{00000000-0000-0000-0000-000000000000}"/>
          </ac:spMkLst>
        </pc:spChg>
        <pc:spChg chg="add">
          <ac:chgData name="Eileen Fleming Suse" userId="S::efs3844@ads.northwestern.edu::725c94ef-d051-42d7-9d33-8572765d592b" providerId="AD" clId="Web-{BFC87AA7-C8F9-9EFC-19DD-EB23F26608F3}" dt="2023-11-16T22:48:43.386" v="0"/>
          <ac:spMkLst>
            <pc:docMk/>
            <pc:sldMk cId="1549218491" sldId="697"/>
            <ac:spMk id="16" creationId="{73C994B4-9721-4148-9EEC-6793CECDE8DD}"/>
          </ac:spMkLst>
        </pc:spChg>
        <pc:spChg chg="add">
          <ac:chgData name="Eileen Fleming Suse" userId="S::efs3844@ads.northwestern.edu::725c94ef-d051-42d7-9d33-8572765d592b" providerId="AD" clId="Web-{BFC87AA7-C8F9-9EFC-19DD-EB23F26608F3}" dt="2023-11-16T22:48:43.386" v="0"/>
          <ac:spMkLst>
            <pc:docMk/>
            <pc:sldMk cId="1549218491" sldId="697"/>
            <ac:spMk id="18" creationId="{F9D95E49-763A-4886-B038-82F734740554}"/>
          </ac:spMkLst>
        </pc:spChg>
        <pc:spChg chg="add">
          <ac:chgData name="Eileen Fleming Suse" userId="S::efs3844@ads.northwestern.edu::725c94ef-d051-42d7-9d33-8572765d592b" providerId="AD" clId="Web-{BFC87AA7-C8F9-9EFC-19DD-EB23F26608F3}" dt="2023-11-16T22:48:43.386" v="0"/>
          <ac:spMkLst>
            <pc:docMk/>
            <pc:sldMk cId="1549218491" sldId="697"/>
            <ac:spMk id="20" creationId="{9999CF8B-CF36-4D83-8D39-AFC5726036F9}"/>
          </ac:spMkLst>
        </pc:spChg>
        <pc:spChg chg="add">
          <ac:chgData name="Eileen Fleming Suse" userId="S::efs3844@ads.northwestern.edu::725c94ef-d051-42d7-9d33-8572765d592b" providerId="AD" clId="Web-{BFC87AA7-C8F9-9EFC-19DD-EB23F26608F3}" dt="2023-11-16T22:48:43.386" v="0"/>
          <ac:spMkLst>
            <pc:docMk/>
            <pc:sldMk cId="1549218491" sldId="697"/>
            <ac:spMk id="22" creationId="{91F6D5B9-3D1A-4091-825E-F687A58ADD3F}"/>
          </ac:spMkLst>
        </pc:spChg>
        <pc:picChg chg="add">
          <ac:chgData name="Eileen Fleming Suse" userId="S::efs3844@ads.northwestern.edu::725c94ef-d051-42d7-9d33-8572765d592b" providerId="AD" clId="Web-{BFC87AA7-C8F9-9EFC-19DD-EB23F26608F3}" dt="2023-11-16T22:48:43.386" v="0"/>
          <ac:picMkLst>
            <pc:docMk/>
            <pc:sldMk cId="1549218491" sldId="697"/>
            <ac:picMk id="12" creationId="{ADA65492-88D0-2A8E-83EE-B00D4D4CD6D0}"/>
          </ac:picMkLst>
        </pc:picChg>
        <pc:cxnChg chg="add">
          <ac:chgData name="Eileen Fleming Suse" userId="S::efs3844@ads.northwestern.edu::725c94ef-d051-42d7-9d33-8572765d592b" providerId="AD" clId="Web-{BFC87AA7-C8F9-9EFC-19DD-EB23F26608F3}" dt="2023-11-16T22:48:43.386" v="0"/>
          <ac:cxnSpMkLst>
            <pc:docMk/>
            <pc:sldMk cId="1549218491" sldId="697"/>
            <ac:cxnSpMk id="24" creationId="{F085D7B9-E066-4923-8CB7-294BF306296A}"/>
          </ac:cxnSpMkLst>
        </pc:cxnChg>
        <pc:cxnChg chg="add">
          <ac:chgData name="Eileen Fleming Suse" userId="S::efs3844@ads.northwestern.edu::725c94ef-d051-42d7-9d33-8572765d592b" providerId="AD" clId="Web-{BFC87AA7-C8F9-9EFC-19DD-EB23F26608F3}" dt="2023-11-16T22:48:43.386" v="0"/>
          <ac:cxnSpMkLst>
            <pc:docMk/>
            <pc:sldMk cId="1549218491" sldId="697"/>
            <ac:cxnSpMk id="26" creationId="{25443840-A796-4C43-8DC1-1B738EFEC522}"/>
          </ac:cxnSpMkLst>
        </pc:cxnChg>
      </pc:sldChg>
    </pc:docChg>
  </pc:docChgLst>
  <pc:docChgLst>
    <pc:chgData name="Eileen Fleming Suse" userId="S::efs3844@ads.northwestern.edu::725c94ef-d051-42d7-9d33-8572765d592b" providerId="AD" clId="Web-{4F909934-BF80-9406-F823-1BE12A003AA4}"/>
    <pc:docChg chg="addSld delSld modSld sldOrd">
      <pc:chgData name="Eileen Fleming Suse" userId="S::efs3844@ads.northwestern.edu::725c94ef-d051-42d7-9d33-8572765d592b" providerId="AD" clId="Web-{4F909934-BF80-9406-F823-1BE12A003AA4}" dt="2023-11-20T15:22:24.918" v="13"/>
      <pc:docMkLst>
        <pc:docMk/>
      </pc:docMkLst>
      <pc:sldChg chg="modSp">
        <pc:chgData name="Eileen Fleming Suse" userId="S::efs3844@ads.northwestern.edu::725c94ef-d051-42d7-9d33-8572765d592b" providerId="AD" clId="Web-{4F909934-BF80-9406-F823-1BE12A003AA4}" dt="2023-11-20T15:20:23.900" v="11" actId="1076"/>
        <pc:sldMkLst>
          <pc:docMk/>
          <pc:sldMk cId="4023770579" sldId="654"/>
        </pc:sldMkLst>
        <pc:spChg chg="mod">
          <ac:chgData name="Eileen Fleming Suse" userId="S::efs3844@ads.northwestern.edu::725c94ef-d051-42d7-9d33-8572765d592b" providerId="AD" clId="Web-{4F909934-BF80-9406-F823-1BE12A003AA4}" dt="2023-11-20T15:20:23.900" v="11" actId="1076"/>
          <ac:spMkLst>
            <pc:docMk/>
            <pc:sldMk cId="4023770579" sldId="654"/>
            <ac:spMk id="14" creationId="{700DFE8C-04E0-11F7-1D35-A335A4579AA0}"/>
          </ac:spMkLst>
        </pc:spChg>
      </pc:sldChg>
      <pc:sldChg chg="add del">
        <pc:chgData name="Eileen Fleming Suse" userId="S::efs3844@ads.northwestern.edu::725c94ef-d051-42d7-9d33-8572765d592b" providerId="AD" clId="Web-{4F909934-BF80-9406-F823-1BE12A003AA4}" dt="2023-11-20T15:18:25.740" v="5"/>
        <pc:sldMkLst>
          <pc:docMk/>
          <pc:sldMk cId="1742938802" sldId="745"/>
        </pc:sldMkLst>
      </pc:sldChg>
      <pc:sldChg chg="add del">
        <pc:chgData name="Eileen Fleming Suse" userId="S::efs3844@ads.northwestern.edu::725c94ef-d051-42d7-9d33-8572765d592b" providerId="AD" clId="Web-{4F909934-BF80-9406-F823-1BE12A003AA4}" dt="2023-11-20T15:18:25.709" v="4"/>
        <pc:sldMkLst>
          <pc:docMk/>
          <pc:sldMk cId="3622218340" sldId="746"/>
        </pc:sldMkLst>
      </pc:sldChg>
      <pc:sldChg chg="add ord">
        <pc:chgData name="Eileen Fleming Suse" userId="S::efs3844@ads.northwestern.edu::725c94ef-d051-42d7-9d33-8572765d592b" providerId="AD" clId="Web-{4F909934-BF80-9406-F823-1BE12A003AA4}" dt="2023-11-20T15:19:05.273" v="6"/>
        <pc:sldMkLst>
          <pc:docMk/>
          <pc:sldMk cId="1758158855" sldId="747"/>
        </pc:sldMkLst>
      </pc:sldChg>
      <pc:sldChg chg="add del">
        <pc:chgData name="Eileen Fleming Suse" userId="S::efs3844@ads.northwestern.edu::725c94ef-d051-42d7-9d33-8572765d592b" providerId="AD" clId="Web-{4F909934-BF80-9406-F823-1BE12A003AA4}" dt="2023-11-20T15:20:48.463" v="12"/>
        <pc:sldMkLst>
          <pc:docMk/>
          <pc:sldMk cId="1800076945" sldId="748"/>
        </pc:sldMkLst>
      </pc:sldChg>
      <pc:sldChg chg="new">
        <pc:chgData name="Eileen Fleming Suse" userId="S::efs3844@ads.northwestern.edu::725c94ef-d051-42d7-9d33-8572765d592b" providerId="AD" clId="Web-{4F909934-BF80-9406-F823-1BE12A003AA4}" dt="2023-11-20T15:22:24.918" v="13"/>
        <pc:sldMkLst>
          <pc:docMk/>
          <pc:sldMk cId="3917006652" sldId="748"/>
        </pc:sldMkLst>
      </pc:sldChg>
    </pc:docChg>
  </pc:docChgLst>
  <pc:docChgLst>
    <pc:chgData name="Eileen Fleming Suse" userId="S::efs3844@ads.northwestern.edu::725c94ef-d051-42d7-9d33-8572765d592b" providerId="AD" clId="Web-{AC5E249F-4AD8-EC7C-FB2F-902F01AC2000}"/>
    <pc:docChg chg="addSld delSld modSld sldOrd">
      <pc:chgData name="Eileen Fleming Suse" userId="S::efs3844@ads.northwestern.edu::725c94ef-d051-42d7-9d33-8572765d592b" providerId="AD" clId="Web-{AC5E249F-4AD8-EC7C-FB2F-902F01AC2000}" dt="2023-10-27T16:29:18.072" v="456" actId="1076"/>
      <pc:docMkLst>
        <pc:docMk/>
      </pc:docMkLst>
      <pc:sldChg chg="modSp modNotes">
        <pc:chgData name="Eileen Fleming Suse" userId="S::efs3844@ads.northwestern.edu::725c94ef-d051-42d7-9d33-8572765d592b" providerId="AD" clId="Web-{AC5E249F-4AD8-EC7C-FB2F-902F01AC2000}" dt="2023-10-27T16:29:18.072" v="456" actId="1076"/>
        <pc:sldMkLst>
          <pc:docMk/>
          <pc:sldMk cId="4044691067" sldId="283"/>
        </pc:sldMkLst>
        <pc:spChg chg="mod">
          <ac:chgData name="Eileen Fleming Suse" userId="S::efs3844@ads.northwestern.edu::725c94ef-d051-42d7-9d33-8572765d592b" providerId="AD" clId="Web-{AC5E249F-4AD8-EC7C-FB2F-902F01AC2000}" dt="2023-10-27T16:29:18.072" v="456" actId="1076"/>
          <ac:spMkLst>
            <pc:docMk/>
            <pc:sldMk cId="4044691067" sldId="283"/>
            <ac:spMk id="2" creationId="{00000000-0000-0000-0000-000000000000}"/>
          </ac:spMkLst>
        </pc:spChg>
        <pc:spChg chg="mod">
          <ac:chgData name="Eileen Fleming Suse" userId="S::efs3844@ads.northwestern.edu::725c94ef-d051-42d7-9d33-8572765d592b" providerId="AD" clId="Web-{AC5E249F-4AD8-EC7C-FB2F-902F01AC2000}" dt="2023-10-27T16:29:15.931" v="455" actId="1076"/>
          <ac:spMkLst>
            <pc:docMk/>
            <pc:sldMk cId="4044691067" sldId="283"/>
            <ac:spMk id="3" creationId="{00000000-0000-0000-0000-000000000000}"/>
          </ac:spMkLst>
        </pc:spChg>
        <pc:spChg chg="mod">
          <ac:chgData name="Eileen Fleming Suse" userId="S::efs3844@ads.northwestern.edu::725c94ef-d051-42d7-9d33-8572765d592b" providerId="AD" clId="Web-{AC5E249F-4AD8-EC7C-FB2F-902F01AC2000}" dt="2023-10-27T16:29:10.446" v="454" actId="14100"/>
          <ac:spMkLst>
            <pc:docMk/>
            <pc:sldMk cId="4044691067" sldId="283"/>
            <ac:spMk id="16387" creationId="{00000000-0000-0000-0000-000000000000}"/>
          </ac:spMkLst>
        </pc:spChg>
      </pc:sldChg>
      <pc:sldChg chg="addSp delSp">
        <pc:chgData name="Eileen Fleming Suse" userId="S::efs3844@ads.northwestern.edu::725c94ef-d051-42d7-9d33-8572765d592b" providerId="AD" clId="Web-{AC5E249F-4AD8-EC7C-FB2F-902F01AC2000}" dt="2023-10-26T21:58:41.182" v="151"/>
        <pc:sldMkLst>
          <pc:docMk/>
          <pc:sldMk cId="2351229145" sldId="544"/>
        </pc:sldMkLst>
        <pc:spChg chg="add del">
          <ac:chgData name="Eileen Fleming Suse" userId="S::efs3844@ads.northwestern.edu::725c94ef-d051-42d7-9d33-8572765d592b" providerId="AD" clId="Web-{AC5E249F-4AD8-EC7C-FB2F-902F01AC2000}" dt="2023-10-26T21:58:06.181" v="147"/>
          <ac:spMkLst>
            <pc:docMk/>
            <pc:sldMk cId="2351229145" sldId="544"/>
            <ac:spMk id="5" creationId="{36680922-E1CE-BE2F-3876-A01BCC5F7C11}"/>
          </ac:spMkLst>
        </pc:spChg>
        <pc:spChg chg="add del">
          <ac:chgData name="Eileen Fleming Suse" userId="S::efs3844@ads.northwestern.edu::725c94ef-d051-42d7-9d33-8572765d592b" providerId="AD" clId="Web-{AC5E249F-4AD8-EC7C-FB2F-902F01AC2000}" dt="2023-10-26T21:58:26.150" v="149"/>
          <ac:spMkLst>
            <pc:docMk/>
            <pc:sldMk cId="2351229145" sldId="544"/>
            <ac:spMk id="7" creationId="{DEE6C46D-5131-EC35-0A2F-8AA9AE4340CC}"/>
          </ac:spMkLst>
        </pc:spChg>
        <pc:spChg chg="add del">
          <ac:chgData name="Eileen Fleming Suse" userId="S::efs3844@ads.northwestern.edu::725c94ef-d051-42d7-9d33-8572765d592b" providerId="AD" clId="Web-{AC5E249F-4AD8-EC7C-FB2F-902F01AC2000}" dt="2023-10-26T21:58:41.182" v="151"/>
          <ac:spMkLst>
            <pc:docMk/>
            <pc:sldMk cId="2351229145" sldId="544"/>
            <ac:spMk id="9" creationId="{A6920F2C-76F5-7A5F-BA4C-F207C33F8197}"/>
          </ac:spMkLst>
        </pc:spChg>
      </pc:sldChg>
      <pc:sldChg chg="modSp">
        <pc:chgData name="Eileen Fleming Suse" userId="S::efs3844@ads.northwestern.edu::725c94ef-d051-42d7-9d33-8572765d592b" providerId="AD" clId="Web-{AC5E249F-4AD8-EC7C-FB2F-902F01AC2000}" dt="2023-10-26T19:51:49.576" v="8" actId="20577"/>
        <pc:sldMkLst>
          <pc:docMk/>
          <pc:sldMk cId="1036043289" sldId="546"/>
        </pc:sldMkLst>
        <pc:spChg chg="mod">
          <ac:chgData name="Eileen Fleming Suse" userId="S::efs3844@ads.northwestern.edu::725c94ef-d051-42d7-9d33-8572765d592b" providerId="AD" clId="Web-{AC5E249F-4AD8-EC7C-FB2F-902F01AC2000}" dt="2023-10-26T19:51:49.576" v="8" actId="20577"/>
          <ac:spMkLst>
            <pc:docMk/>
            <pc:sldMk cId="1036043289" sldId="546"/>
            <ac:spMk id="2" creationId="{67E16CF5-47C8-BEAD-25F8-81514DC0AF8B}"/>
          </ac:spMkLst>
        </pc:spChg>
      </pc:sldChg>
      <pc:sldChg chg="del">
        <pc:chgData name="Eileen Fleming Suse" userId="S::efs3844@ads.northwestern.edu::725c94ef-d051-42d7-9d33-8572765d592b" providerId="AD" clId="Web-{AC5E249F-4AD8-EC7C-FB2F-902F01AC2000}" dt="2023-10-26T22:03:16.959" v="182"/>
        <pc:sldMkLst>
          <pc:docMk/>
          <pc:sldMk cId="4024842338" sldId="547"/>
        </pc:sldMkLst>
      </pc:sldChg>
      <pc:sldChg chg="addSp delSp modSp">
        <pc:chgData name="Eileen Fleming Suse" userId="S::efs3844@ads.northwestern.edu::725c94ef-d051-42d7-9d33-8572765d592b" providerId="AD" clId="Web-{AC5E249F-4AD8-EC7C-FB2F-902F01AC2000}" dt="2023-10-26T22:07:46.547" v="215"/>
        <pc:sldMkLst>
          <pc:docMk/>
          <pc:sldMk cId="3067427377" sldId="560"/>
        </pc:sldMkLst>
        <pc:spChg chg="mod">
          <ac:chgData name="Eileen Fleming Suse" userId="S::efs3844@ads.northwestern.edu::725c94ef-d051-42d7-9d33-8572765d592b" providerId="AD" clId="Web-{AC5E249F-4AD8-EC7C-FB2F-902F01AC2000}" dt="2023-10-26T22:07:00.390" v="210" actId="14100"/>
          <ac:spMkLst>
            <pc:docMk/>
            <pc:sldMk cId="3067427377" sldId="560"/>
            <ac:spMk id="3" creationId="{E7ECD19B-85BC-6652-2856-676802964CFA}"/>
          </ac:spMkLst>
        </pc:spChg>
        <pc:spChg chg="add del">
          <ac:chgData name="Eileen Fleming Suse" userId="S::efs3844@ads.northwestern.edu::725c94ef-d051-42d7-9d33-8572765d592b" providerId="AD" clId="Web-{AC5E249F-4AD8-EC7C-FB2F-902F01AC2000}" dt="2023-10-26T22:07:33.687" v="213"/>
          <ac:spMkLst>
            <pc:docMk/>
            <pc:sldMk cId="3067427377" sldId="560"/>
            <ac:spMk id="7" creationId="{A02B2455-F99D-2227-02B8-F9E1B069703B}"/>
          </ac:spMkLst>
        </pc:spChg>
        <pc:spChg chg="add del mod">
          <ac:chgData name="Eileen Fleming Suse" userId="S::efs3844@ads.northwestern.edu::725c94ef-d051-42d7-9d33-8572765d592b" providerId="AD" clId="Web-{AC5E249F-4AD8-EC7C-FB2F-902F01AC2000}" dt="2023-10-26T22:07:22.296" v="212"/>
          <ac:spMkLst>
            <pc:docMk/>
            <pc:sldMk cId="3067427377" sldId="560"/>
            <ac:spMk id="9" creationId="{584AC78D-2AB3-FFCF-7E6D-6AD502FC54D4}"/>
          </ac:spMkLst>
        </pc:spChg>
        <pc:spChg chg="add del">
          <ac:chgData name="Eileen Fleming Suse" userId="S::efs3844@ads.northwestern.edu::725c94ef-d051-42d7-9d33-8572765d592b" providerId="AD" clId="Web-{AC5E249F-4AD8-EC7C-FB2F-902F01AC2000}" dt="2023-10-26T22:07:34.875" v="214"/>
          <ac:spMkLst>
            <pc:docMk/>
            <pc:sldMk cId="3067427377" sldId="560"/>
            <ac:spMk id="11" creationId="{25AE46F6-8873-C45A-4460-9B1E673C65E0}"/>
          </ac:spMkLst>
        </pc:spChg>
        <pc:spChg chg="add del">
          <ac:chgData name="Eileen Fleming Suse" userId="S::efs3844@ads.northwestern.edu::725c94ef-d051-42d7-9d33-8572765d592b" providerId="AD" clId="Web-{AC5E249F-4AD8-EC7C-FB2F-902F01AC2000}" dt="2023-10-26T22:07:46.547" v="215"/>
          <ac:spMkLst>
            <pc:docMk/>
            <pc:sldMk cId="3067427377" sldId="560"/>
            <ac:spMk id="13" creationId="{01F6CB6F-B810-DCDD-2A4B-90C738ED3EA9}"/>
          </ac:spMkLst>
        </pc:spChg>
      </pc:sldChg>
      <pc:sldChg chg="addSp delSp modSp">
        <pc:chgData name="Eileen Fleming Suse" userId="S::efs3844@ads.northwestern.edu::725c94ef-d051-42d7-9d33-8572765d592b" providerId="AD" clId="Web-{AC5E249F-4AD8-EC7C-FB2F-902F01AC2000}" dt="2023-10-26T22:17:19.116" v="276" actId="20577"/>
        <pc:sldMkLst>
          <pc:docMk/>
          <pc:sldMk cId="1141815353" sldId="562"/>
        </pc:sldMkLst>
        <pc:spChg chg="mod">
          <ac:chgData name="Eileen Fleming Suse" userId="S::efs3844@ads.northwestern.edu::725c94ef-d051-42d7-9d33-8572765d592b" providerId="AD" clId="Web-{AC5E249F-4AD8-EC7C-FB2F-902F01AC2000}" dt="2023-10-26T22:08:07.485" v="217" actId="20577"/>
          <ac:spMkLst>
            <pc:docMk/>
            <pc:sldMk cId="1141815353" sldId="562"/>
            <ac:spMk id="2" creationId="{05579FEB-3306-A04E-6516-F16994F3B0F9}"/>
          </ac:spMkLst>
        </pc:spChg>
        <pc:spChg chg="del mod">
          <ac:chgData name="Eileen Fleming Suse" userId="S::efs3844@ads.northwestern.edu::725c94ef-d051-42d7-9d33-8572765d592b" providerId="AD" clId="Web-{AC5E249F-4AD8-EC7C-FB2F-902F01AC2000}" dt="2023-10-26T22:12:46.574" v="249"/>
          <ac:spMkLst>
            <pc:docMk/>
            <pc:sldMk cId="1141815353" sldId="562"/>
            <ac:spMk id="3" creationId="{FAB96473-F45F-5893-CEB0-FAFF66B2B444}"/>
          </ac:spMkLst>
        </pc:spChg>
        <pc:spChg chg="add del mod">
          <ac:chgData name="Eileen Fleming Suse" userId="S::efs3844@ads.northwestern.edu::725c94ef-d051-42d7-9d33-8572765d592b" providerId="AD" clId="Web-{AC5E249F-4AD8-EC7C-FB2F-902F01AC2000}" dt="2023-10-26T22:13:35.529" v="256"/>
          <ac:spMkLst>
            <pc:docMk/>
            <pc:sldMk cId="1141815353" sldId="562"/>
            <ac:spMk id="299" creationId="{133B377F-EBFC-4D3A-E73F-A028F0C56783}"/>
          </ac:spMkLst>
        </pc:spChg>
        <pc:spChg chg="add mod">
          <ac:chgData name="Eileen Fleming Suse" userId="S::efs3844@ads.northwestern.edu::725c94ef-d051-42d7-9d33-8572765d592b" providerId="AD" clId="Web-{AC5E249F-4AD8-EC7C-FB2F-902F01AC2000}" dt="2023-10-26T22:17:19.116" v="276" actId="20577"/>
          <ac:spMkLst>
            <pc:docMk/>
            <pc:sldMk cId="1141815353" sldId="562"/>
            <ac:spMk id="360" creationId="{FE59A3A2-BFF2-9772-51D6-9CCB620AEB53}"/>
          </ac:spMkLst>
        </pc:spChg>
        <pc:graphicFrameChg chg="add del mod modGraphic">
          <ac:chgData name="Eileen Fleming Suse" userId="S::efs3844@ads.northwestern.edu::725c94ef-d051-42d7-9d33-8572765d592b" providerId="AD" clId="Web-{AC5E249F-4AD8-EC7C-FB2F-902F01AC2000}" dt="2023-10-26T22:10:00.037" v="231"/>
          <ac:graphicFrameMkLst>
            <pc:docMk/>
            <pc:sldMk cId="1141815353" sldId="562"/>
            <ac:graphicFrameMk id="4" creationId="{BE75C271-797A-15FE-F5A6-2846FCF41DA5}"/>
          </ac:graphicFrameMkLst>
        </pc:graphicFrameChg>
        <pc:graphicFrameChg chg="add mod modGraphic">
          <ac:chgData name="Eileen Fleming Suse" userId="S::efs3844@ads.northwestern.edu::725c94ef-d051-42d7-9d33-8572765d592b" providerId="AD" clId="Web-{AC5E249F-4AD8-EC7C-FB2F-902F01AC2000}" dt="2023-10-26T22:13:34.733" v="255" actId="1076"/>
          <ac:graphicFrameMkLst>
            <pc:docMk/>
            <pc:sldMk cId="1141815353" sldId="562"/>
            <ac:graphicFrameMk id="137" creationId="{61D68665-D38F-2DB1-AAFC-535C715B7F9F}"/>
          </ac:graphicFrameMkLst>
        </pc:graphicFrameChg>
      </pc:sldChg>
      <pc:sldChg chg="addSp delSp modSp ord">
        <pc:chgData name="Eileen Fleming Suse" userId="S::efs3844@ads.northwestern.edu::725c94ef-d051-42d7-9d33-8572765d592b" providerId="AD" clId="Web-{AC5E249F-4AD8-EC7C-FB2F-902F01AC2000}" dt="2023-10-27T16:06:46.831" v="342" actId="20577"/>
        <pc:sldMkLst>
          <pc:docMk/>
          <pc:sldMk cId="3845418986" sldId="563"/>
        </pc:sldMkLst>
        <pc:spChg chg="del mod">
          <ac:chgData name="Eileen Fleming Suse" userId="S::efs3844@ads.northwestern.edu::725c94ef-d051-42d7-9d33-8572765d592b" providerId="AD" clId="Web-{AC5E249F-4AD8-EC7C-FB2F-902F01AC2000}" dt="2023-10-27T16:05:33.188" v="312"/>
          <ac:spMkLst>
            <pc:docMk/>
            <pc:sldMk cId="3845418986" sldId="563"/>
            <ac:spMk id="2" creationId="{00000000-0000-0000-0000-000000000000}"/>
          </ac:spMkLst>
        </pc:spChg>
        <pc:spChg chg="mod">
          <ac:chgData name="Eileen Fleming Suse" userId="S::efs3844@ads.northwestern.edu::725c94ef-d051-42d7-9d33-8572765d592b" providerId="AD" clId="Web-{AC5E249F-4AD8-EC7C-FB2F-902F01AC2000}" dt="2023-10-27T16:05:40.469" v="313" actId="1076"/>
          <ac:spMkLst>
            <pc:docMk/>
            <pc:sldMk cId="3845418986" sldId="563"/>
            <ac:spMk id="3" creationId="{00000000-0000-0000-0000-000000000000}"/>
          </ac:spMkLst>
        </pc:spChg>
        <pc:spChg chg="del">
          <ac:chgData name="Eileen Fleming Suse" userId="S::efs3844@ads.northwestern.edu::725c94ef-d051-42d7-9d33-8572765d592b" providerId="AD" clId="Web-{AC5E249F-4AD8-EC7C-FB2F-902F01AC2000}" dt="2023-10-26T21:54:44.517" v="141"/>
          <ac:spMkLst>
            <pc:docMk/>
            <pc:sldMk cId="3845418986" sldId="563"/>
            <ac:spMk id="33" creationId="{00000000-0000-0000-0000-000000000000}"/>
          </ac:spMkLst>
        </pc:spChg>
        <pc:spChg chg="add mod">
          <ac:chgData name="Eileen Fleming Suse" userId="S::efs3844@ads.northwestern.edu::725c94ef-d051-42d7-9d33-8572765d592b" providerId="AD" clId="Web-{AC5E249F-4AD8-EC7C-FB2F-902F01AC2000}" dt="2023-10-27T16:06:46.831" v="342" actId="20577"/>
          <ac:spMkLst>
            <pc:docMk/>
            <pc:sldMk cId="3845418986" sldId="563"/>
            <ac:spMk id="33" creationId="{5C2A740E-7A02-31A5-EAAF-9CD8C0A41D47}"/>
          </ac:spMkLst>
        </pc:spChg>
        <pc:spChg chg="mod">
          <ac:chgData name="Eileen Fleming Suse" userId="S::efs3844@ads.northwestern.edu::725c94ef-d051-42d7-9d33-8572765d592b" providerId="AD" clId="Web-{AC5E249F-4AD8-EC7C-FB2F-902F01AC2000}" dt="2023-10-27T16:05:40.891" v="322" actId="1076"/>
          <ac:spMkLst>
            <pc:docMk/>
            <pc:sldMk cId="3845418986" sldId="563"/>
            <ac:spMk id="34" creationId="{00000000-0000-0000-0000-000000000000}"/>
          </ac:spMkLst>
        </pc:spChg>
        <pc:spChg chg="mod">
          <ac:chgData name="Eileen Fleming Suse" userId="S::efs3844@ads.northwestern.edu::725c94ef-d051-42d7-9d33-8572765d592b" providerId="AD" clId="Web-{AC5E249F-4AD8-EC7C-FB2F-902F01AC2000}" dt="2023-10-27T16:05:40.907" v="323" actId="1076"/>
          <ac:spMkLst>
            <pc:docMk/>
            <pc:sldMk cId="3845418986" sldId="563"/>
            <ac:spMk id="35" creationId="{00000000-0000-0000-0000-000000000000}"/>
          </ac:spMkLst>
        </pc:spChg>
        <pc:spChg chg="mod">
          <ac:chgData name="Eileen Fleming Suse" userId="S::efs3844@ads.northwestern.edu::725c94ef-d051-42d7-9d33-8572765d592b" providerId="AD" clId="Web-{AC5E249F-4AD8-EC7C-FB2F-902F01AC2000}" dt="2023-10-27T16:05:40.954" v="324" actId="1076"/>
          <ac:spMkLst>
            <pc:docMk/>
            <pc:sldMk cId="3845418986" sldId="563"/>
            <ac:spMk id="36" creationId="{00000000-0000-0000-0000-000000000000}"/>
          </ac:spMkLst>
        </pc:spChg>
        <pc:spChg chg="mod">
          <ac:chgData name="Eileen Fleming Suse" userId="S::efs3844@ads.northwestern.edu::725c94ef-d051-42d7-9d33-8572765d592b" providerId="AD" clId="Web-{AC5E249F-4AD8-EC7C-FB2F-902F01AC2000}" dt="2023-10-27T16:05:40.985" v="325" actId="1076"/>
          <ac:spMkLst>
            <pc:docMk/>
            <pc:sldMk cId="3845418986" sldId="563"/>
            <ac:spMk id="37" creationId="{00000000-0000-0000-0000-000000000000}"/>
          </ac:spMkLst>
        </pc:spChg>
        <pc:spChg chg="mod">
          <ac:chgData name="Eileen Fleming Suse" userId="S::efs3844@ads.northwestern.edu::725c94ef-d051-42d7-9d33-8572765d592b" providerId="AD" clId="Web-{AC5E249F-4AD8-EC7C-FB2F-902F01AC2000}" dt="2023-10-27T16:05:41.001" v="326" actId="1076"/>
          <ac:spMkLst>
            <pc:docMk/>
            <pc:sldMk cId="3845418986" sldId="563"/>
            <ac:spMk id="38" creationId="{00000000-0000-0000-0000-000000000000}"/>
          </ac:spMkLst>
        </pc:spChg>
        <pc:spChg chg="mod">
          <ac:chgData name="Eileen Fleming Suse" userId="S::efs3844@ads.northwestern.edu::725c94ef-d051-42d7-9d33-8572765d592b" providerId="AD" clId="Web-{AC5E249F-4AD8-EC7C-FB2F-902F01AC2000}" dt="2023-10-27T16:05:41.032" v="327" actId="1076"/>
          <ac:spMkLst>
            <pc:docMk/>
            <pc:sldMk cId="3845418986" sldId="563"/>
            <ac:spMk id="39" creationId="{00000000-0000-0000-0000-000000000000}"/>
          </ac:spMkLst>
        </pc:spChg>
        <pc:spChg chg="mod">
          <ac:chgData name="Eileen Fleming Suse" userId="S::efs3844@ads.northwestern.edu::725c94ef-d051-42d7-9d33-8572765d592b" providerId="AD" clId="Web-{AC5E249F-4AD8-EC7C-FB2F-902F01AC2000}" dt="2023-10-27T16:05:41.079" v="328" actId="1076"/>
          <ac:spMkLst>
            <pc:docMk/>
            <pc:sldMk cId="3845418986" sldId="563"/>
            <ac:spMk id="40" creationId="{00000000-0000-0000-0000-000000000000}"/>
          </ac:spMkLst>
        </pc:spChg>
        <pc:spChg chg="mod">
          <ac:chgData name="Eileen Fleming Suse" userId="S::efs3844@ads.northwestern.edu::725c94ef-d051-42d7-9d33-8572765d592b" providerId="AD" clId="Web-{AC5E249F-4AD8-EC7C-FB2F-902F01AC2000}" dt="2023-10-27T16:05:41.110" v="329" actId="1076"/>
          <ac:spMkLst>
            <pc:docMk/>
            <pc:sldMk cId="3845418986" sldId="563"/>
            <ac:spMk id="41" creationId="{00000000-0000-0000-0000-000000000000}"/>
          </ac:spMkLst>
        </pc:spChg>
        <pc:spChg chg="mod">
          <ac:chgData name="Eileen Fleming Suse" userId="S::efs3844@ads.northwestern.edu::725c94ef-d051-42d7-9d33-8572765d592b" providerId="AD" clId="Web-{AC5E249F-4AD8-EC7C-FB2F-902F01AC2000}" dt="2023-10-27T16:05:41.157" v="330" actId="1076"/>
          <ac:spMkLst>
            <pc:docMk/>
            <pc:sldMk cId="3845418986" sldId="563"/>
            <ac:spMk id="42" creationId="{00000000-0000-0000-0000-000000000000}"/>
          </ac:spMkLst>
        </pc:spChg>
        <pc:spChg chg="mod">
          <ac:chgData name="Eileen Fleming Suse" userId="S::efs3844@ads.northwestern.edu::725c94ef-d051-42d7-9d33-8572765d592b" providerId="AD" clId="Web-{AC5E249F-4AD8-EC7C-FB2F-902F01AC2000}" dt="2023-10-27T16:05:42.798" v="333" actId="1076"/>
          <ac:spMkLst>
            <pc:docMk/>
            <pc:sldMk cId="3845418986" sldId="563"/>
            <ac:spMk id="43" creationId="{00000000-0000-0000-0000-000000000000}"/>
          </ac:spMkLst>
        </pc:spChg>
        <pc:spChg chg="mod">
          <ac:chgData name="Eileen Fleming Suse" userId="S::efs3844@ads.northwestern.edu::725c94ef-d051-42d7-9d33-8572765d592b" providerId="AD" clId="Web-{AC5E249F-4AD8-EC7C-FB2F-902F01AC2000}" dt="2023-10-27T16:05:41.173" v="331" actId="1076"/>
          <ac:spMkLst>
            <pc:docMk/>
            <pc:sldMk cId="3845418986" sldId="563"/>
            <ac:spMk id="44" creationId="{00000000-0000-0000-0000-000000000000}"/>
          </ac:spMkLst>
        </pc:spChg>
        <pc:spChg chg="mod">
          <ac:chgData name="Eileen Fleming Suse" userId="S::efs3844@ads.northwestern.edu::725c94ef-d051-42d7-9d33-8572765d592b" providerId="AD" clId="Web-{AC5E249F-4AD8-EC7C-FB2F-902F01AC2000}" dt="2023-10-27T16:05:41.219" v="332" actId="1076"/>
          <ac:spMkLst>
            <pc:docMk/>
            <pc:sldMk cId="3845418986" sldId="563"/>
            <ac:spMk id="45" creationId="{00000000-0000-0000-0000-000000000000}"/>
          </ac:spMkLst>
        </pc:spChg>
        <pc:spChg chg="del">
          <ac:chgData name="Eileen Fleming Suse" userId="S::efs3844@ads.northwestern.edu::725c94ef-d051-42d7-9d33-8572765d592b" providerId="AD" clId="Web-{AC5E249F-4AD8-EC7C-FB2F-902F01AC2000}" dt="2023-10-26T21:54:44.454" v="140"/>
          <ac:spMkLst>
            <pc:docMk/>
            <pc:sldMk cId="3845418986" sldId="563"/>
            <ac:spMk id="48" creationId="{00000000-0000-0000-0000-000000000000}"/>
          </ac:spMkLst>
        </pc:spChg>
        <pc:spChg chg="add">
          <ac:chgData name="Eileen Fleming Suse" userId="S::efs3844@ads.northwestern.edu::725c94ef-d051-42d7-9d33-8572765d592b" providerId="AD" clId="Web-{AC5E249F-4AD8-EC7C-FB2F-902F01AC2000}" dt="2023-10-26T21:54:44.642" v="142"/>
          <ac:spMkLst>
            <pc:docMk/>
            <pc:sldMk cId="3845418986" sldId="563"/>
            <ac:spMk id="49" creationId="{4FD6BDF7-E6F5-6DC8-9332-E3E0DB7057F0}"/>
          </ac:spMkLst>
        </pc:spChg>
        <pc:spChg chg="add">
          <ac:chgData name="Eileen Fleming Suse" userId="S::efs3844@ads.northwestern.edu::725c94ef-d051-42d7-9d33-8572765d592b" providerId="AD" clId="Web-{AC5E249F-4AD8-EC7C-FB2F-902F01AC2000}" dt="2023-10-26T21:54:44.673" v="143"/>
          <ac:spMkLst>
            <pc:docMk/>
            <pc:sldMk cId="3845418986" sldId="563"/>
            <ac:spMk id="51" creationId="{233EFC40-2641-E728-F412-79899FC6D0D7}"/>
          </ac:spMkLst>
        </pc:spChg>
        <pc:spChg chg="add">
          <ac:chgData name="Eileen Fleming Suse" userId="S::efs3844@ads.northwestern.edu::725c94ef-d051-42d7-9d33-8572765d592b" providerId="AD" clId="Web-{AC5E249F-4AD8-EC7C-FB2F-902F01AC2000}" dt="2023-10-26T21:54:44.704" v="144"/>
          <ac:spMkLst>
            <pc:docMk/>
            <pc:sldMk cId="3845418986" sldId="563"/>
            <ac:spMk id="53" creationId="{66360ABF-1F2C-C63A-9187-17E2573B3DEB}"/>
          </ac:spMkLst>
        </pc:spChg>
        <pc:grpChg chg="mod">
          <ac:chgData name="Eileen Fleming Suse" userId="S::efs3844@ads.northwestern.edu::725c94ef-d051-42d7-9d33-8572765d592b" providerId="AD" clId="Web-{AC5E249F-4AD8-EC7C-FB2F-902F01AC2000}" dt="2023-10-27T16:05:40.548" v="314" actId="1076"/>
          <ac:grpSpMkLst>
            <pc:docMk/>
            <pc:sldMk cId="3845418986" sldId="563"/>
            <ac:grpSpMk id="6" creationId="{00000000-0000-0000-0000-000000000000}"/>
          </ac:grpSpMkLst>
        </pc:grpChg>
        <pc:grpChg chg="mod">
          <ac:chgData name="Eileen Fleming Suse" userId="S::efs3844@ads.northwestern.edu::725c94ef-d051-42d7-9d33-8572765d592b" providerId="AD" clId="Web-{AC5E249F-4AD8-EC7C-FB2F-902F01AC2000}" dt="2023-10-27T16:05:40.594" v="315" actId="1076"/>
          <ac:grpSpMkLst>
            <pc:docMk/>
            <pc:sldMk cId="3845418986" sldId="563"/>
            <ac:grpSpMk id="9" creationId="{00000000-0000-0000-0000-000000000000}"/>
          </ac:grpSpMkLst>
        </pc:grpChg>
        <pc:grpChg chg="mod">
          <ac:chgData name="Eileen Fleming Suse" userId="S::efs3844@ads.northwestern.edu::725c94ef-d051-42d7-9d33-8572765d592b" providerId="AD" clId="Web-{AC5E249F-4AD8-EC7C-FB2F-902F01AC2000}" dt="2023-10-27T16:05:40.641" v="316" actId="1076"/>
          <ac:grpSpMkLst>
            <pc:docMk/>
            <pc:sldMk cId="3845418986" sldId="563"/>
            <ac:grpSpMk id="12" creationId="{00000000-0000-0000-0000-000000000000}"/>
          </ac:grpSpMkLst>
        </pc:grpChg>
        <pc:grpChg chg="mod">
          <ac:chgData name="Eileen Fleming Suse" userId="S::efs3844@ads.northwestern.edu::725c94ef-d051-42d7-9d33-8572765d592b" providerId="AD" clId="Web-{AC5E249F-4AD8-EC7C-FB2F-902F01AC2000}" dt="2023-10-27T16:05:40.688" v="317" actId="1076"/>
          <ac:grpSpMkLst>
            <pc:docMk/>
            <pc:sldMk cId="3845418986" sldId="563"/>
            <ac:grpSpMk id="15" creationId="{00000000-0000-0000-0000-000000000000}"/>
          </ac:grpSpMkLst>
        </pc:grpChg>
        <pc:grpChg chg="mod">
          <ac:chgData name="Eileen Fleming Suse" userId="S::efs3844@ads.northwestern.edu::725c94ef-d051-42d7-9d33-8572765d592b" providerId="AD" clId="Web-{AC5E249F-4AD8-EC7C-FB2F-902F01AC2000}" dt="2023-10-27T16:05:40.719" v="318" actId="1076"/>
          <ac:grpSpMkLst>
            <pc:docMk/>
            <pc:sldMk cId="3845418986" sldId="563"/>
            <ac:grpSpMk id="18" creationId="{00000000-0000-0000-0000-000000000000}"/>
          </ac:grpSpMkLst>
        </pc:grpChg>
        <pc:grpChg chg="mod">
          <ac:chgData name="Eileen Fleming Suse" userId="S::efs3844@ads.northwestern.edu::725c94ef-d051-42d7-9d33-8572765d592b" providerId="AD" clId="Web-{AC5E249F-4AD8-EC7C-FB2F-902F01AC2000}" dt="2023-10-27T16:05:40.751" v="319" actId="1076"/>
          <ac:grpSpMkLst>
            <pc:docMk/>
            <pc:sldMk cId="3845418986" sldId="563"/>
            <ac:grpSpMk id="21" creationId="{00000000-0000-0000-0000-000000000000}"/>
          </ac:grpSpMkLst>
        </pc:grpChg>
        <pc:grpChg chg="mod">
          <ac:chgData name="Eileen Fleming Suse" userId="S::efs3844@ads.northwestern.edu::725c94ef-d051-42d7-9d33-8572765d592b" providerId="AD" clId="Web-{AC5E249F-4AD8-EC7C-FB2F-902F01AC2000}" dt="2023-10-27T16:05:40.797" v="320" actId="1076"/>
          <ac:grpSpMkLst>
            <pc:docMk/>
            <pc:sldMk cId="3845418986" sldId="563"/>
            <ac:grpSpMk id="24" creationId="{00000000-0000-0000-0000-000000000000}"/>
          </ac:grpSpMkLst>
        </pc:grpChg>
        <pc:grpChg chg="mod">
          <ac:chgData name="Eileen Fleming Suse" userId="S::efs3844@ads.northwestern.edu::725c94ef-d051-42d7-9d33-8572765d592b" providerId="AD" clId="Web-{AC5E249F-4AD8-EC7C-FB2F-902F01AC2000}" dt="2023-10-27T16:05:40.860" v="321" actId="1076"/>
          <ac:grpSpMkLst>
            <pc:docMk/>
            <pc:sldMk cId="3845418986" sldId="563"/>
            <ac:grpSpMk id="27" creationId="{00000000-0000-0000-0000-000000000000}"/>
          </ac:grpSpMkLst>
        </pc:grpChg>
      </pc:sldChg>
      <pc:sldChg chg="addSp delSp ord">
        <pc:chgData name="Eileen Fleming Suse" userId="S::efs3844@ads.northwestern.edu::725c94ef-d051-42d7-9d33-8572765d592b" providerId="AD" clId="Web-{AC5E249F-4AD8-EC7C-FB2F-902F01AC2000}" dt="2023-10-26T21:54:29.673" v="139"/>
        <pc:sldMkLst>
          <pc:docMk/>
          <pc:sldMk cId="1536434647" sldId="564"/>
        </pc:sldMkLst>
        <pc:spChg chg="del">
          <ac:chgData name="Eileen Fleming Suse" userId="S::efs3844@ads.northwestern.edu::725c94ef-d051-42d7-9d33-8572765d592b" providerId="AD" clId="Web-{AC5E249F-4AD8-EC7C-FB2F-902F01AC2000}" dt="2023-10-26T21:54:19.438" v="135"/>
          <ac:spMkLst>
            <pc:docMk/>
            <pc:sldMk cId="1536434647" sldId="564"/>
            <ac:spMk id="26" creationId="{00000000-0000-0000-0000-000000000000}"/>
          </ac:spMkLst>
        </pc:spChg>
        <pc:spChg chg="del">
          <ac:chgData name="Eileen Fleming Suse" userId="S::efs3844@ads.northwestern.edu::725c94ef-d051-42d7-9d33-8572765d592b" providerId="AD" clId="Web-{AC5E249F-4AD8-EC7C-FB2F-902F01AC2000}" dt="2023-10-26T21:54:28.954" v="136"/>
          <ac:spMkLst>
            <pc:docMk/>
            <pc:sldMk cId="1536434647" sldId="564"/>
            <ac:spMk id="48" creationId="{00000000-0000-0000-0000-000000000000}"/>
          </ac:spMkLst>
        </pc:spChg>
        <pc:spChg chg="add">
          <ac:chgData name="Eileen Fleming Suse" userId="S::efs3844@ads.northwestern.edu::725c94ef-d051-42d7-9d33-8572765d592b" providerId="AD" clId="Web-{AC5E249F-4AD8-EC7C-FB2F-902F01AC2000}" dt="2023-10-26T21:54:29.579" v="137"/>
          <ac:spMkLst>
            <pc:docMk/>
            <pc:sldMk cId="1536434647" sldId="564"/>
            <ac:spMk id="51" creationId="{DADB789B-D1D8-A439-C1FC-0121F131E706}"/>
          </ac:spMkLst>
        </pc:spChg>
        <pc:spChg chg="add">
          <ac:chgData name="Eileen Fleming Suse" userId="S::efs3844@ads.northwestern.edu::725c94ef-d051-42d7-9d33-8572765d592b" providerId="AD" clId="Web-{AC5E249F-4AD8-EC7C-FB2F-902F01AC2000}" dt="2023-10-26T21:54:29.626" v="138"/>
          <ac:spMkLst>
            <pc:docMk/>
            <pc:sldMk cId="1536434647" sldId="564"/>
            <ac:spMk id="53" creationId="{7AA1F7FA-AA52-FED3-1784-BE66C8A7FBFC}"/>
          </ac:spMkLst>
        </pc:spChg>
        <pc:spChg chg="add">
          <ac:chgData name="Eileen Fleming Suse" userId="S::efs3844@ads.northwestern.edu::725c94ef-d051-42d7-9d33-8572765d592b" providerId="AD" clId="Web-{AC5E249F-4AD8-EC7C-FB2F-902F01AC2000}" dt="2023-10-26T21:54:29.673" v="139"/>
          <ac:spMkLst>
            <pc:docMk/>
            <pc:sldMk cId="1536434647" sldId="564"/>
            <ac:spMk id="55" creationId="{20BABE46-A93F-751A-4C5F-3AC294D73230}"/>
          </ac:spMkLst>
        </pc:spChg>
      </pc:sldChg>
      <pc:sldChg chg="addSp ord">
        <pc:chgData name="Eileen Fleming Suse" userId="S::efs3844@ads.northwestern.edu::725c94ef-d051-42d7-9d33-8572765d592b" providerId="AD" clId="Web-{AC5E249F-4AD8-EC7C-FB2F-902F01AC2000}" dt="2023-10-26T21:54:54.814" v="145"/>
        <pc:sldMkLst>
          <pc:docMk/>
          <pc:sldMk cId="3004937174" sldId="565"/>
        </pc:sldMkLst>
        <pc:spChg chg="add">
          <ac:chgData name="Eileen Fleming Suse" userId="S::efs3844@ads.northwestern.edu::725c94ef-d051-42d7-9d33-8572765d592b" providerId="AD" clId="Web-{AC5E249F-4AD8-EC7C-FB2F-902F01AC2000}" dt="2023-10-26T21:54:54.814" v="145"/>
          <ac:spMkLst>
            <pc:docMk/>
            <pc:sldMk cId="3004937174" sldId="565"/>
            <ac:spMk id="43" creationId="{8306C3D8-831A-F712-3C29-BC96F5346A16}"/>
          </ac:spMkLst>
        </pc:spChg>
      </pc:sldChg>
      <pc:sldChg chg="del">
        <pc:chgData name="Eileen Fleming Suse" userId="S::efs3844@ads.northwestern.edu::725c94ef-d051-42d7-9d33-8572765d592b" providerId="AD" clId="Web-{AC5E249F-4AD8-EC7C-FB2F-902F01AC2000}" dt="2023-10-26T22:00:39.077" v="178"/>
        <pc:sldMkLst>
          <pc:docMk/>
          <pc:sldMk cId="3090389772" sldId="568"/>
        </pc:sldMkLst>
      </pc:sldChg>
      <pc:sldChg chg="del">
        <pc:chgData name="Eileen Fleming Suse" userId="S::efs3844@ads.northwestern.edu::725c94ef-d051-42d7-9d33-8572765d592b" providerId="AD" clId="Web-{AC5E249F-4AD8-EC7C-FB2F-902F01AC2000}" dt="2023-10-26T22:00:39.077" v="177"/>
        <pc:sldMkLst>
          <pc:docMk/>
          <pc:sldMk cId="1088329954" sldId="569"/>
        </pc:sldMkLst>
      </pc:sldChg>
      <pc:sldChg chg="del">
        <pc:chgData name="Eileen Fleming Suse" userId="S::efs3844@ads.northwestern.edu::725c94ef-d051-42d7-9d33-8572765d592b" providerId="AD" clId="Web-{AC5E249F-4AD8-EC7C-FB2F-902F01AC2000}" dt="2023-10-26T22:00:39.077" v="176"/>
        <pc:sldMkLst>
          <pc:docMk/>
          <pc:sldMk cId="2849312483" sldId="570"/>
        </pc:sldMkLst>
      </pc:sldChg>
      <pc:sldChg chg="del">
        <pc:chgData name="Eileen Fleming Suse" userId="S::efs3844@ads.northwestern.edu::725c94ef-d051-42d7-9d33-8572765d592b" providerId="AD" clId="Web-{AC5E249F-4AD8-EC7C-FB2F-902F01AC2000}" dt="2023-10-26T22:00:39.077" v="175"/>
        <pc:sldMkLst>
          <pc:docMk/>
          <pc:sldMk cId="1337825202" sldId="571"/>
        </pc:sldMkLst>
      </pc:sldChg>
      <pc:sldChg chg="del">
        <pc:chgData name="Eileen Fleming Suse" userId="S::efs3844@ads.northwestern.edu::725c94ef-d051-42d7-9d33-8572765d592b" providerId="AD" clId="Web-{AC5E249F-4AD8-EC7C-FB2F-902F01AC2000}" dt="2023-10-26T22:00:39.062" v="174"/>
        <pc:sldMkLst>
          <pc:docMk/>
          <pc:sldMk cId="1568500938" sldId="575"/>
        </pc:sldMkLst>
      </pc:sldChg>
      <pc:sldChg chg="del">
        <pc:chgData name="Eileen Fleming Suse" userId="S::efs3844@ads.northwestern.edu::725c94ef-d051-42d7-9d33-8572765d592b" providerId="AD" clId="Web-{AC5E249F-4AD8-EC7C-FB2F-902F01AC2000}" dt="2023-10-26T22:00:39.062" v="173"/>
        <pc:sldMkLst>
          <pc:docMk/>
          <pc:sldMk cId="1407824229" sldId="576"/>
        </pc:sldMkLst>
      </pc:sldChg>
      <pc:sldChg chg="addSp modSp">
        <pc:chgData name="Eileen Fleming Suse" userId="S::efs3844@ads.northwestern.edu::725c94ef-d051-42d7-9d33-8572765d592b" providerId="AD" clId="Web-{AC5E249F-4AD8-EC7C-FB2F-902F01AC2000}" dt="2023-10-27T16:25:23.018" v="443"/>
        <pc:sldMkLst>
          <pc:docMk/>
          <pc:sldMk cId="785115983" sldId="578"/>
        </pc:sldMkLst>
        <pc:cxnChg chg="add ord">
          <ac:chgData name="Eileen Fleming Suse" userId="S::efs3844@ads.northwestern.edu::725c94ef-d051-42d7-9d33-8572765d592b" providerId="AD" clId="Web-{AC5E249F-4AD8-EC7C-FB2F-902F01AC2000}" dt="2023-10-27T16:25:18.221" v="442"/>
          <ac:cxnSpMkLst>
            <pc:docMk/>
            <pc:sldMk cId="785115983" sldId="578"/>
            <ac:cxnSpMk id="53" creationId="{A7B5C048-F156-0D3C-D55F-4D731E35FA2E}"/>
          </ac:cxnSpMkLst>
        </pc:cxnChg>
        <pc:cxnChg chg="add mod ord">
          <ac:chgData name="Eileen Fleming Suse" userId="S::efs3844@ads.northwestern.edu::725c94ef-d051-42d7-9d33-8572765d592b" providerId="AD" clId="Web-{AC5E249F-4AD8-EC7C-FB2F-902F01AC2000}" dt="2023-10-27T16:25:13.221" v="441"/>
          <ac:cxnSpMkLst>
            <pc:docMk/>
            <pc:sldMk cId="785115983" sldId="578"/>
            <ac:cxnSpMk id="55" creationId="{6352D6FE-962F-E499-92FF-86F2420A2EA5}"/>
          </ac:cxnSpMkLst>
        </pc:cxnChg>
        <pc:cxnChg chg="add mod ord">
          <ac:chgData name="Eileen Fleming Suse" userId="S::efs3844@ads.northwestern.edu::725c94ef-d051-42d7-9d33-8572765d592b" providerId="AD" clId="Web-{AC5E249F-4AD8-EC7C-FB2F-902F01AC2000}" dt="2023-10-27T16:25:23.018" v="443"/>
          <ac:cxnSpMkLst>
            <pc:docMk/>
            <pc:sldMk cId="785115983" sldId="578"/>
            <ac:cxnSpMk id="57" creationId="{20BA68FA-6BDE-2EDB-723C-CD601AB032C2}"/>
          </ac:cxnSpMkLst>
        </pc:cxnChg>
      </pc:sldChg>
      <pc:sldChg chg="addSp modSp">
        <pc:chgData name="Eileen Fleming Suse" userId="S::efs3844@ads.northwestern.edu::725c94ef-d051-42d7-9d33-8572765d592b" providerId="AD" clId="Web-{AC5E249F-4AD8-EC7C-FB2F-902F01AC2000}" dt="2023-10-27T16:24:55.080" v="435"/>
        <pc:sldMkLst>
          <pc:docMk/>
          <pc:sldMk cId="3030449316" sldId="579"/>
        </pc:sldMkLst>
        <pc:spChg chg="mod">
          <ac:chgData name="Eileen Fleming Suse" userId="S::efs3844@ads.northwestern.edu::725c94ef-d051-42d7-9d33-8572765d592b" providerId="AD" clId="Web-{AC5E249F-4AD8-EC7C-FB2F-902F01AC2000}" dt="2023-10-26T22:18:25.994" v="281" actId="14100"/>
          <ac:spMkLst>
            <pc:docMk/>
            <pc:sldMk cId="3030449316" sldId="579"/>
            <ac:spMk id="33" creationId="{00000000-0000-0000-0000-000000000000}"/>
          </ac:spMkLst>
        </pc:spChg>
        <pc:spChg chg="mod">
          <ac:chgData name="Eileen Fleming Suse" userId="S::efs3844@ads.northwestern.edu::725c94ef-d051-42d7-9d33-8572765d592b" providerId="AD" clId="Web-{AC5E249F-4AD8-EC7C-FB2F-902F01AC2000}" dt="2023-10-26T21:53:50.015" v="134" actId="1076"/>
          <ac:spMkLst>
            <pc:docMk/>
            <pc:sldMk cId="3030449316" sldId="579"/>
            <ac:spMk id="44" creationId="{00000000-0000-0000-0000-000000000000}"/>
          </ac:spMkLst>
        </pc:spChg>
        <pc:cxnChg chg="add mod ord">
          <ac:chgData name="Eileen Fleming Suse" userId="S::efs3844@ads.northwestern.edu::725c94ef-d051-42d7-9d33-8572765d592b" providerId="AD" clId="Web-{AC5E249F-4AD8-EC7C-FB2F-902F01AC2000}" dt="2023-10-27T16:24:51.033" v="434"/>
          <ac:cxnSpMkLst>
            <pc:docMk/>
            <pc:sldMk cId="3030449316" sldId="579"/>
            <ac:cxnSpMk id="53" creationId="{A3366110-511F-BCB4-653F-4CCE780C10E1}"/>
          </ac:cxnSpMkLst>
        </pc:cxnChg>
        <pc:cxnChg chg="add mod ord">
          <ac:chgData name="Eileen Fleming Suse" userId="S::efs3844@ads.northwestern.edu::725c94ef-d051-42d7-9d33-8572765d592b" providerId="AD" clId="Web-{AC5E249F-4AD8-EC7C-FB2F-902F01AC2000}" dt="2023-10-27T16:24:46.126" v="433"/>
          <ac:cxnSpMkLst>
            <pc:docMk/>
            <pc:sldMk cId="3030449316" sldId="579"/>
            <ac:cxnSpMk id="54" creationId="{52D6BD58-A1C0-4097-567A-36996C8B9E0B}"/>
          </ac:cxnSpMkLst>
        </pc:cxnChg>
        <pc:cxnChg chg="add mod ord">
          <ac:chgData name="Eileen Fleming Suse" userId="S::efs3844@ads.northwestern.edu::725c94ef-d051-42d7-9d33-8572765d592b" providerId="AD" clId="Web-{AC5E249F-4AD8-EC7C-FB2F-902F01AC2000}" dt="2023-10-27T16:24:55.080" v="435"/>
          <ac:cxnSpMkLst>
            <pc:docMk/>
            <pc:sldMk cId="3030449316" sldId="579"/>
            <ac:cxnSpMk id="55" creationId="{8F46A2E8-EDC0-45C5-E8E6-4A5E6F1F4FA0}"/>
          </ac:cxnSpMkLst>
        </pc:cxnChg>
      </pc:sldChg>
      <pc:sldChg chg="addSp modSp">
        <pc:chgData name="Eileen Fleming Suse" userId="S::efs3844@ads.northwestern.edu::725c94ef-d051-42d7-9d33-8572765d592b" providerId="AD" clId="Web-{AC5E249F-4AD8-EC7C-FB2F-902F01AC2000}" dt="2023-10-27T16:24:18.438" v="425" actId="20577"/>
        <pc:sldMkLst>
          <pc:docMk/>
          <pc:sldMk cId="4283907660" sldId="580"/>
        </pc:sldMkLst>
        <pc:spChg chg="mod">
          <ac:chgData name="Eileen Fleming Suse" userId="S::efs3844@ads.northwestern.edu::725c94ef-d051-42d7-9d33-8572765d592b" providerId="AD" clId="Web-{AC5E249F-4AD8-EC7C-FB2F-902F01AC2000}" dt="2023-10-27T16:23:25.530" v="410" actId="1076"/>
          <ac:spMkLst>
            <pc:docMk/>
            <pc:sldMk cId="4283907660" sldId="580"/>
            <ac:spMk id="20" creationId="{00000000-0000-0000-0000-000000000000}"/>
          </ac:spMkLst>
        </pc:spChg>
        <pc:spChg chg="mod">
          <ac:chgData name="Eileen Fleming Suse" userId="S::efs3844@ads.northwestern.edu::725c94ef-d051-42d7-9d33-8572765d592b" providerId="AD" clId="Web-{AC5E249F-4AD8-EC7C-FB2F-902F01AC2000}" dt="2023-10-27T16:23:06.342" v="405" actId="1076"/>
          <ac:spMkLst>
            <pc:docMk/>
            <pc:sldMk cId="4283907660" sldId="580"/>
            <ac:spMk id="65" creationId="{00000000-0000-0000-0000-000000000000}"/>
          </ac:spMkLst>
        </pc:spChg>
        <pc:spChg chg="mod">
          <ac:chgData name="Eileen Fleming Suse" userId="S::efs3844@ads.northwestern.edu::725c94ef-d051-42d7-9d33-8572765d592b" providerId="AD" clId="Web-{AC5E249F-4AD8-EC7C-FB2F-902F01AC2000}" dt="2023-10-27T16:24:18.438" v="425" actId="20577"/>
          <ac:spMkLst>
            <pc:docMk/>
            <pc:sldMk cId="4283907660" sldId="580"/>
            <ac:spMk id="66" creationId="{00000000-0000-0000-0000-000000000000}"/>
          </ac:spMkLst>
        </pc:spChg>
        <pc:grpChg chg="mod">
          <ac:chgData name="Eileen Fleming Suse" userId="S::efs3844@ads.northwestern.edu::725c94ef-d051-42d7-9d33-8572765d592b" providerId="AD" clId="Web-{AC5E249F-4AD8-EC7C-FB2F-902F01AC2000}" dt="2023-10-27T16:23:06.311" v="404" actId="1076"/>
          <ac:grpSpMkLst>
            <pc:docMk/>
            <pc:sldMk cId="4283907660" sldId="580"/>
            <ac:grpSpMk id="41" creationId="{00000000-0000-0000-0000-000000000000}"/>
          </ac:grpSpMkLst>
        </pc:grpChg>
        <pc:grpChg chg="mod">
          <ac:chgData name="Eileen Fleming Suse" userId="S::efs3844@ads.northwestern.edu::725c94ef-d051-42d7-9d33-8572765d592b" providerId="AD" clId="Web-{AC5E249F-4AD8-EC7C-FB2F-902F01AC2000}" dt="2023-10-27T16:23:25.562" v="411" actId="1076"/>
          <ac:grpSpMkLst>
            <pc:docMk/>
            <pc:sldMk cId="4283907660" sldId="580"/>
            <ac:grpSpMk id="44" creationId="{00000000-0000-0000-0000-000000000000}"/>
          </ac:grpSpMkLst>
        </pc:grpChg>
        <pc:cxnChg chg="add mod ord">
          <ac:chgData name="Eileen Fleming Suse" userId="S::efs3844@ads.northwestern.edu::725c94ef-d051-42d7-9d33-8572765d592b" providerId="AD" clId="Web-{AC5E249F-4AD8-EC7C-FB2F-902F01AC2000}" dt="2023-10-27T16:22:36.779" v="396"/>
          <ac:cxnSpMkLst>
            <pc:docMk/>
            <pc:sldMk cId="4283907660" sldId="580"/>
            <ac:cxnSpMk id="70" creationId="{FAB1A723-05C8-C0B8-46CD-6CEC5D6BBD04}"/>
          </ac:cxnSpMkLst>
        </pc:cxnChg>
        <pc:cxnChg chg="add mod ord">
          <ac:chgData name="Eileen Fleming Suse" userId="S::efs3844@ads.northwestern.edu::725c94ef-d051-42d7-9d33-8572765d592b" providerId="AD" clId="Web-{AC5E249F-4AD8-EC7C-FB2F-902F01AC2000}" dt="2023-10-27T16:22:30.654" v="395"/>
          <ac:cxnSpMkLst>
            <pc:docMk/>
            <pc:sldMk cId="4283907660" sldId="580"/>
            <ac:cxnSpMk id="72" creationId="{707187BC-B253-F405-832D-75199CFA7D3B}"/>
          </ac:cxnSpMkLst>
        </pc:cxnChg>
        <pc:cxnChg chg="add mod">
          <ac:chgData name="Eileen Fleming Suse" userId="S::efs3844@ads.northwestern.edu::725c94ef-d051-42d7-9d33-8572765d592b" providerId="AD" clId="Web-{AC5E249F-4AD8-EC7C-FB2F-902F01AC2000}" dt="2023-10-27T16:23:09.358" v="406" actId="14100"/>
          <ac:cxnSpMkLst>
            <pc:docMk/>
            <pc:sldMk cId="4283907660" sldId="580"/>
            <ac:cxnSpMk id="74" creationId="{34699683-48B1-C584-C969-0FC12DE6D30A}"/>
          </ac:cxnSpMkLst>
        </pc:cxnChg>
        <pc:cxnChg chg="add mod">
          <ac:chgData name="Eileen Fleming Suse" userId="S::efs3844@ads.northwestern.edu::725c94ef-d051-42d7-9d33-8572765d592b" providerId="AD" clId="Web-{AC5E249F-4AD8-EC7C-FB2F-902F01AC2000}" dt="2023-10-27T16:23:30.609" v="414" actId="14100"/>
          <ac:cxnSpMkLst>
            <pc:docMk/>
            <pc:sldMk cId="4283907660" sldId="580"/>
            <ac:cxnSpMk id="76" creationId="{5FBD65C4-D121-6BFF-7A20-CC716D7037AD}"/>
          </ac:cxnSpMkLst>
        </pc:cxnChg>
        <pc:cxnChg chg="add mod">
          <ac:chgData name="Eileen Fleming Suse" userId="S::efs3844@ads.northwestern.edu::725c94ef-d051-42d7-9d33-8572765d592b" providerId="AD" clId="Web-{AC5E249F-4AD8-EC7C-FB2F-902F01AC2000}" dt="2023-10-27T16:23:13.718" v="408" actId="14100"/>
          <ac:cxnSpMkLst>
            <pc:docMk/>
            <pc:sldMk cId="4283907660" sldId="580"/>
            <ac:cxnSpMk id="78" creationId="{DFA24459-913C-819C-1FB9-882C0D69503C}"/>
          </ac:cxnSpMkLst>
        </pc:cxnChg>
        <pc:cxnChg chg="add mod">
          <ac:chgData name="Eileen Fleming Suse" userId="S::efs3844@ads.northwestern.edu::725c94ef-d051-42d7-9d33-8572765d592b" providerId="AD" clId="Web-{AC5E249F-4AD8-EC7C-FB2F-902F01AC2000}" dt="2023-10-27T16:23:52.859" v="419" actId="14100"/>
          <ac:cxnSpMkLst>
            <pc:docMk/>
            <pc:sldMk cId="4283907660" sldId="580"/>
            <ac:cxnSpMk id="80" creationId="{D146EC0A-53E9-15A6-4F6B-C7F1AE321A03}"/>
          </ac:cxnSpMkLst>
        </pc:cxnChg>
      </pc:sldChg>
      <pc:sldChg chg="addSp modSp">
        <pc:chgData name="Eileen Fleming Suse" userId="S::efs3844@ads.northwestern.edu::725c94ef-d051-42d7-9d33-8572765d592b" providerId="AD" clId="Web-{AC5E249F-4AD8-EC7C-FB2F-902F01AC2000}" dt="2023-10-27T16:21:31.137" v="386"/>
        <pc:sldMkLst>
          <pc:docMk/>
          <pc:sldMk cId="3429940818" sldId="581"/>
        </pc:sldMkLst>
        <pc:spChg chg="mod">
          <ac:chgData name="Eileen Fleming Suse" userId="S::efs3844@ads.northwestern.edu::725c94ef-d051-42d7-9d33-8572765d592b" providerId="AD" clId="Web-{AC5E249F-4AD8-EC7C-FB2F-902F01AC2000}" dt="2023-10-26T22:18:16.087" v="279" actId="1076"/>
          <ac:spMkLst>
            <pc:docMk/>
            <pc:sldMk cId="3429940818" sldId="581"/>
            <ac:spMk id="41" creationId="{00000000-0000-0000-0000-000000000000}"/>
          </ac:spMkLst>
        </pc:spChg>
        <pc:spChg chg="mod">
          <ac:chgData name="Eileen Fleming Suse" userId="S::efs3844@ads.northwestern.edu::725c94ef-d051-42d7-9d33-8572765d592b" providerId="AD" clId="Web-{AC5E249F-4AD8-EC7C-FB2F-902F01AC2000}" dt="2023-10-26T22:18:05.962" v="278" actId="14100"/>
          <ac:spMkLst>
            <pc:docMk/>
            <pc:sldMk cId="3429940818" sldId="581"/>
            <ac:spMk id="62" creationId="{00000000-0000-0000-0000-000000000000}"/>
          </ac:spMkLst>
        </pc:spChg>
        <pc:cxnChg chg="add mod">
          <ac:chgData name="Eileen Fleming Suse" userId="S::efs3844@ads.northwestern.edu::725c94ef-d051-42d7-9d33-8572765d592b" providerId="AD" clId="Web-{AC5E249F-4AD8-EC7C-FB2F-902F01AC2000}" dt="2023-10-27T16:19:43.727" v="367" actId="14100"/>
          <ac:cxnSpMkLst>
            <pc:docMk/>
            <pc:sldMk cId="3429940818" sldId="581"/>
            <ac:cxnSpMk id="72" creationId="{9DABEE7E-8BD3-4674-2C98-8E4DD5FD2BA4}"/>
          </ac:cxnSpMkLst>
        </pc:cxnChg>
        <pc:cxnChg chg="add mod">
          <ac:chgData name="Eileen Fleming Suse" userId="S::efs3844@ads.northwestern.edu::725c94ef-d051-42d7-9d33-8572765d592b" providerId="AD" clId="Web-{AC5E249F-4AD8-EC7C-FB2F-902F01AC2000}" dt="2023-10-27T16:19:49.212" v="369" actId="1076"/>
          <ac:cxnSpMkLst>
            <pc:docMk/>
            <pc:sldMk cId="3429940818" sldId="581"/>
            <ac:cxnSpMk id="74" creationId="{BEC4BABB-43C9-9000-ED55-9524836704C3}"/>
          </ac:cxnSpMkLst>
        </pc:cxnChg>
        <pc:cxnChg chg="add mod">
          <ac:chgData name="Eileen Fleming Suse" userId="S::efs3844@ads.northwestern.edu::725c94ef-d051-42d7-9d33-8572765d592b" providerId="AD" clId="Web-{AC5E249F-4AD8-EC7C-FB2F-902F01AC2000}" dt="2023-10-27T16:19:57.868" v="372" actId="14100"/>
          <ac:cxnSpMkLst>
            <pc:docMk/>
            <pc:sldMk cId="3429940818" sldId="581"/>
            <ac:cxnSpMk id="76" creationId="{144ECC94-4093-ABB7-73BA-06FC54548E83}"/>
          </ac:cxnSpMkLst>
        </pc:cxnChg>
        <pc:cxnChg chg="add mod">
          <ac:chgData name="Eileen Fleming Suse" userId="S::efs3844@ads.northwestern.edu::725c94ef-d051-42d7-9d33-8572765d592b" providerId="AD" clId="Web-{AC5E249F-4AD8-EC7C-FB2F-902F01AC2000}" dt="2023-10-27T16:20:22.697" v="379" actId="14100"/>
          <ac:cxnSpMkLst>
            <pc:docMk/>
            <pc:sldMk cId="3429940818" sldId="581"/>
            <ac:cxnSpMk id="78" creationId="{8982FD92-CD8A-7CA9-6F98-CE88B54846B1}"/>
          </ac:cxnSpMkLst>
        </pc:cxnChg>
        <pc:cxnChg chg="add mod ord">
          <ac:chgData name="Eileen Fleming Suse" userId="S::efs3844@ads.northwestern.edu::725c94ef-d051-42d7-9d33-8572765d592b" providerId="AD" clId="Web-{AC5E249F-4AD8-EC7C-FB2F-902F01AC2000}" dt="2023-10-27T16:21:31.137" v="386"/>
          <ac:cxnSpMkLst>
            <pc:docMk/>
            <pc:sldMk cId="3429940818" sldId="581"/>
            <ac:cxnSpMk id="80" creationId="{CAF7AEDC-38D6-4104-8736-1AFA4E6298B5}"/>
          </ac:cxnSpMkLst>
        </pc:cxnChg>
        <pc:cxnChg chg="add mod ord">
          <ac:chgData name="Eileen Fleming Suse" userId="S::efs3844@ads.northwestern.edu::725c94ef-d051-42d7-9d33-8572765d592b" providerId="AD" clId="Web-{AC5E249F-4AD8-EC7C-FB2F-902F01AC2000}" dt="2023-10-27T16:20:51.464" v="385"/>
          <ac:cxnSpMkLst>
            <pc:docMk/>
            <pc:sldMk cId="3429940818" sldId="581"/>
            <ac:cxnSpMk id="82" creationId="{EB8EE064-ABA2-EBF9-9A28-B95446D8989F}"/>
          </ac:cxnSpMkLst>
        </pc:cxnChg>
      </pc:sldChg>
      <pc:sldChg chg="modSp del">
        <pc:chgData name="Eileen Fleming Suse" userId="S::efs3844@ads.northwestern.edu::725c94ef-d051-42d7-9d33-8572765d592b" providerId="AD" clId="Web-{AC5E249F-4AD8-EC7C-FB2F-902F01AC2000}" dt="2023-10-27T16:07:11.566" v="344"/>
        <pc:sldMkLst>
          <pc:docMk/>
          <pc:sldMk cId="4156128006" sldId="582"/>
        </pc:sldMkLst>
        <pc:spChg chg="mod">
          <ac:chgData name="Eileen Fleming Suse" userId="S::efs3844@ads.northwestern.edu::725c94ef-d051-42d7-9d33-8572765d592b" providerId="AD" clId="Web-{AC5E249F-4AD8-EC7C-FB2F-902F01AC2000}" dt="2023-10-27T16:06:53.925" v="343" actId="1076"/>
          <ac:spMkLst>
            <pc:docMk/>
            <pc:sldMk cId="4156128006" sldId="582"/>
            <ac:spMk id="33" creationId="{00000000-0000-0000-0000-000000000000}"/>
          </ac:spMkLst>
        </pc:spChg>
      </pc:sldChg>
      <pc:sldChg chg="addSp modSp add ord">
        <pc:chgData name="Eileen Fleming Suse" userId="S::efs3844@ads.northwestern.edu::725c94ef-d051-42d7-9d33-8572765d592b" providerId="AD" clId="Web-{AC5E249F-4AD8-EC7C-FB2F-902F01AC2000}" dt="2023-10-27T16:15:16.423" v="349" actId="20577"/>
        <pc:sldMkLst>
          <pc:docMk/>
          <pc:sldMk cId="3561966490" sldId="585"/>
        </pc:sldMkLst>
        <pc:spChg chg="mod">
          <ac:chgData name="Eileen Fleming Suse" userId="S::efs3844@ads.northwestern.edu::725c94ef-d051-42d7-9d33-8572765d592b" providerId="AD" clId="Web-{AC5E249F-4AD8-EC7C-FB2F-902F01AC2000}" dt="2023-10-26T21:47:17.828" v="29" actId="1076"/>
          <ac:spMkLst>
            <pc:docMk/>
            <pc:sldMk cId="3561966490" sldId="585"/>
            <ac:spMk id="4" creationId="{00000000-0000-0000-0000-000000000000}"/>
          </ac:spMkLst>
        </pc:spChg>
        <pc:spChg chg="mod">
          <ac:chgData name="Eileen Fleming Suse" userId="S::efs3844@ads.northwestern.edu::725c94ef-d051-42d7-9d33-8572765d592b" providerId="AD" clId="Web-{AC5E249F-4AD8-EC7C-FB2F-902F01AC2000}" dt="2023-10-26T21:47:17.281" v="28" actId="1076"/>
          <ac:spMkLst>
            <pc:docMk/>
            <pc:sldMk cId="3561966490" sldId="585"/>
            <ac:spMk id="19" creationId="{00000000-0000-0000-0000-000000000000}"/>
          </ac:spMkLst>
        </pc:spChg>
        <pc:spChg chg="mod">
          <ac:chgData name="Eileen Fleming Suse" userId="S::efs3844@ads.northwestern.edu::725c94ef-d051-42d7-9d33-8572765d592b" providerId="AD" clId="Web-{AC5E249F-4AD8-EC7C-FB2F-902F01AC2000}" dt="2023-10-27T16:15:16.423" v="349" actId="20577"/>
          <ac:spMkLst>
            <pc:docMk/>
            <pc:sldMk cId="3561966490" sldId="585"/>
            <ac:spMk id="21" creationId="{00000000-0000-0000-0000-000000000000}"/>
          </ac:spMkLst>
        </pc:spChg>
        <pc:spChg chg="add mod">
          <ac:chgData name="Eileen Fleming Suse" userId="S::efs3844@ads.northwestern.edu::725c94ef-d051-42d7-9d33-8572765d592b" providerId="AD" clId="Web-{AC5E249F-4AD8-EC7C-FB2F-902F01AC2000}" dt="2023-10-26T21:47:17.938" v="30" actId="1076"/>
          <ac:spMkLst>
            <pc:docMk/>
            <pc:sldMk cId="3561966490" sldId="585"/>
            <ac:spMk id="24" creationId="{A8E8476A-44CA-2C4D-B3E7-31C44865373F}"/>
          </ac:spMkLst>
        </pc:spChg>
      </pc:sldChg>
      <pc:sldChg chg="addSp delSp modSp add ord">
        <pc:chgData name="Eileen Fleming Suse" userId="S::efs3844@ads.northwestern.edu::725c94ef-d051-42d7-9d33-8572765d592b" providerId="AD" clId="Web-{AC5E249F-4AD8-EC7C-FB2F-902F01AC2000}" dt="2023-10-27T16:15:54.174" v="364" actId="14100"/>
        <pc:sldMkLst>
          <pc:docMk/>
          <pc:sldMk cId="3809547791" sldId="586"/>
        </pc:sldMkLst>
        <pc:spChg chg="del">
          <ac:chgData name="Eileen Fleming Suse" userId="S::efs3844@ads.northwestern.edu::725c94ef-d051-42d7-9d33-8572765d592b" providerId="AD" clId="Web-{AC5E249F-4AD8-EC7C-FB2F-902F01AC2000}" dt="2023-10-26T21:47:33.578" v="33"/>
          <ac:spMkLst>
            <pc:docMk/>
            <pc:sldMk cId="3809547791" sldId="586"/>
            <ac:spMk id="4" creationId="{00000000-0000-0000-0000-000000000000}"/>
          </ac:spMkLst>
        </pc:spChg>
        <pc:spChg chg="del mod">
          <ac:chgData name="Eileen Fleming Suse" userId="S::efs3844@ads.northwestern.edu::725c94ef-d051-42d7-9d33-8572765d592b" providerId="AD" clId="Web-{AC5E249F-4AD8-EC7C-FB2F-902F01AC2000}" dt="2023-10-26T21:47:33.516" v="32"/>
          <ac:spMkLst>
            <pc:docMk/>
            <pc:sldMk cId="3809547791" sldId="586"/>
            <ac:spMk id="37" creationId="{00000000-0000-0000-0000-000000000000}"/>
          </ac:spMkLst>
        </pc:spChg>
        <pc:spChg chg="mod">
          <ac:chgData name="Eileen Fleming Suse" userId="S::efs3844@ads.northwestern.edu::725c94ef-d051-42d7-9d33-8572765d592b" providerId="AD" clId="Web-{AC5E249F-4AD8-EC7C-FB2F-902F01AC2000}" dt="2023-10-27T16:15:54.174" v="364" actId="14100"/>
          <ac:spMkLst>
            <pc:docMk/>
            <pc:sldMk cId="3809547791" sldId="586"/>
            <ac:spMk id="41" creationId="{00000000-0000-0000-0000-000000000000}"/>
          </ac:spMkLst>
        </pc:spChg>
        <pc:spChg chg="mod">
          <ac:chgData name="Eileen Fleming Suse" userId="S::efs3844@ads.northwestern.edu::725c94ef-d051-42d7-9d33-8572765d592b" providerId="AD" clId="Web-{AC5E249F-4AD8-EC7C-FB2F-902F01AC2000}" dt="2023-10-26T21:46:19.794" v="20" actId="20577"/>
          <ac:spMkLst>
            <pc:docMk/>
            <pc:sldMk cId="3809547791" sldId="586"/>
            <ac:spMk id="42" creationId="{00000000-0000-0000-0000-000000000000}"/>
          </ac:spMkLst>
        </pc:spChg>
        <pc:spChg chg="add">
          <ac:chgData name="Eileen Fleming Suse" userId="S::efs3844@ads.northwestern.edu::725c94ef-d051-42d7-9d33-8572765d592b" providerId="AD" clId="Web-{AC5E249F-4AD8-EC7C-FB2F-902F01AC2000}" dt="2023-10-26T21:47:33.735" v="34"/>
          <ac:spMkLst>
            <pc:docMk/>
            <pc:sldMk cId="3809547791" sldId="586"/>
            <ac:spMk id="45" creationId="{C77E478B-4FF6-99F3-8EF6-9EC4CBF20CDC}"/>
          </ac:spMkLst>
        </pc:spChg>
        <pc:spChg chg="add">
          <ac:chgData name="Eileen Fleming Suse" userId="S::efs3844@ads.northwestern.edu::725c94ef-d051-42d7-9d33-8572765d592b" providerId="AD" clId="Web-{AC5E249F-4AD8-EC7C-FB2F-902F01AC2000}" dt="2023-10-26T21:47:33.750" v="35"/>
          <ac:spMkLst>
            <pc:docMk/>
            <pc:sldMk cId="3809547791" sldId="586"/>
            <ac:spMk id="47" creationId="{B8E0B5F5-B6A2-711D-2F6F-422E5E01B221}"/>
          </ac:spMkLst>
        </pc:spChg>
        <pc:spChg chg="add">
          <ac:chgData name="Eileen Fleming Suse" userId="S::efs3844@ads.northwestern.edu::725c94ef-d051-42d7-9d33-8572765d592b" providerId="AD" clId="Web-{AC5E249F-4AD8-EC7C-FB2F-902F01AC2000}" dt="2023-10-26T21:47:33.781" v="36"/>
          <ac:spMkLst>
            <pc:docMk/>
            <pc:sldMk cId="3809547791" sldId="586"/>
            <ac:spMk id="49" creationId="{725D5EF5-B77D-B401-7AC5-22CFBF1AA913}"/>
          </ac:spMkLst>
        </pc:spChg>
      </pc:sldChg>
      <pc:sldChg chg="addSp delSp modSp add ord">
        <pc:chgData name="Eileen Fleming Suse" userId="S::efs3844@ads.northwestern.edu::725c94ef-d051-42d7-9d33-8572765d592b" providerId="AD" clId="Web-{AC5E249F-4AD8-EC7C-FB2F-902F01AC2000}" dt="2023-10-27T16:13:30.342" v="345" actId="1076"/>
        <pc:sldMkLst>
          <pc:docMk/>
          <pc:sldMk cId="1598854783" sldId="587"/>
        </pc:sldMkLst>
        <pc:spChg chg="del">
          <ac:chgData name="Eileen Fleming Suse" userId="S::efs3844@ads.northwestern.edu::725c94ef-d051-42d7-9d33-8572765d592b" providerId="AD" clId="Web-{AC5E249F-4AD8-EC7C-FB2F-902F01AC2000}" dt="2023-10-26T21:48:54.894" v="58"/>
          <ac:spMkLst>
            <pc:docMk/>
            <pc:sldMk cId="1598854783" sldId="587"/>
            <ac:spMk id="31" creationId="{00000000-0000-0000-0000-000000000000}"/>
          </ac:spMkLst>
        </pc:spChg>
        <pc:spChg chg="mod">
          <ac:chgData name="Eileen Fleming Suse" userId="S::efs3844@ads.northwestern.edu::725c94ef-d051-42d7-9d33-8572765d592b" providerId="AD" clId="Web-{AC5E249F-4AD8-EC7C-FB2F-902F01AC2000}" dt="2023-10-26T21:52:40.637" v="124" actId="20577"/>
          <ac:spMkLst>
            <pc:docMk/>
            <pc:sldMk cId="1598854783" sldId="587"/>
            <ac:spMk id="36" creationId="{00000000-0000-0000-0000-000000000000}"/>
          </ac:spMkLst>
        </pc:spChg>
        <pc:spChg chg="mod">
          <ac:chgData name="Eileen Fleming Suse" userId="S::efs3844@ads.northwestern.edu::725c94ef-d051-42d7-9d33-8572765d592b" providerId="AD" clId="Web-{AC5E249F-4AD8-EC7C-FB2F-902F01AC2000}" dt="2023-10-26T21:51:27.275" v="105" actId="20577"/>
          <ac:spMkLst>
            <pc:docMk/>
            <pc:sldMk cId="1598854783" sldId="587"/>
            <ac:spMk id="37" creationId="{00000000-0000-0000-0000-000000000000}"/>
          </ac:spMkLst>
        </pc:spChg>
        <pc:spChg chg="mod">
          <ac:chgData name="Eileen Fleming Suse" userId="S::efs3844@ads.northwestern.edu::725c94ef-d051-42d7-9d33-8572765d592b" providerId="AD" clId="Web-{AC5E249F-4AD8-EC7C-FB2F-902F01AC2000}" dt="2023-10-26T21:52:40.387" v="123" actId="20577"/>
          <ac:spMkLst>
            <pc:docMk/>
            <pc:sldMk cId="1598854783" sldId="587"/>
            <ac:spMk id="38" creationId="{00000000-0000-0000-0000-000000000000}"/>
          </ac:spMkLst>
        </pc:spChg>
        <pc:spChg chg="mod">
          <ac:chgData name="Eileen Fleming Suse" userId="S::efs3844@ads.northwestern.edu::725c94ef-d051-42d7-9d33-8572765d592b" providerId="AD" clId="Web-{AC5E249F-4AD8-EC7C-FB2F-902F01AC2000}" dt="2023-10-26T21:51:27.619" v="108" actId="20577"/>
          <ac:spMkLst>
            <pc:docMk/>
            <pc:sldMk cId="1598854783" sldId="587"/>
            <ac:spMk id="39" creationId="{00000000-0000-0000-0000-000000000000}"/>
          </ac:spMkLst>
        </pc:spChg>
        <pc:spChg chg="mod">
          <ac:chgData name="Eileen Fleming Suse" userId="S::efs3844@ads.northwestern.edu::725c94ef-d051-42d7-9d33-8572765d592b" providerId="AD" clId="Web-{AC5E249F-4AD8-EC7C-FB2F-902F01AC2000}" dt="2023-10-26T21:53:11.091" v="133" actId="1076"/>
          <ac:spMkLst>
            <pc:docMk/>
            <pc:sldMk cId="1598854783" sldId="587"/>
            <ac:spMk id="40" creationId="{00000000-0000-0000-0000-000000000000}"/>
          </ac:spMkLst>
        </pc:spChg>
        <pc:spChg chg="mod">
          <ac:chgData name="Eileen Fleming Suse" userId="S::efs3844@ads.northwestern.edu::725c94ef-d051-42d7-9d33-8572765d592b" providerId="AD" clId="Web-{AC5E249F-4AD8-EC7C-FB2F-902F01AC2000}" dt="2023-10-26T21:52:55.356" v="128" actId="20577"/>
          <ac:spMkLst>
            <pc:docMk/>
            <pc:sldMk cId="1598854783" sldId="587"/>
            <ac:spMk id="42" creationId="{00000000-0000-0000-0000-000000000000}"/>
          </ac:spMkLst>
        </pc:spChg>
        <pc:spChg chg="mod">
          <ac:chgData name="Eileen Fleming Suse" userId="S::efs3844@ads.northwestern.edu::725c94ef-d051-42d7-9d33-8572765d592b" providerId="AD" clId="Web-{AC5E249F-4AD8-EC7C-FB2F-902F01AC2000}" dt="2023-10-26T21:51:31.041" v="110" actId="20577"/>
          <ac:spMkLst>
            <pc:docMk/>
            <pc:sldMk cId="1598854783" sldId="587"/>
            <ac:spMk id="43" creationId="{00000000-0000-0000-0000-000000000000}"/>
          </ac:spMkLst>
        </pc:spChg>
        <pc:spChg chg="mod">
          <ac:chgData name="Eileen Fleming Suse" userId="S::efs3844@ads.northwestern.edu::725c94ef-d051-42d7-9d33-8572765d592b" providerId="AD" clId="Web-{AC5E249F-4AD8-EC7C-FB2F-902F01AC2000}" dt="2023-10-26T21:48:56.488" v="65" actId="1076"/>
          <ac:spMkLst>
            <pc:docMk/>
            <pc:sldMk cId="1598854783" sldId="587"/>
            <ac:spMk id="45" creationId="{00000000-0000-0000-0000-000000000000}"/>
          </ac:spMkLst>
        </pc:spChg>
        <pc:spChg chg="del mod">
          <ac:chgData name="Eileen Fleming Suse" userId="S::efs3844@ads.northwestern.edu::725c94ef-d051-42d7-9d33-8572765d592b" providerId="AD" clId="Web-{AC5E249F-4AD8-EC7C-FB2F-902F01AC2000}" dt="2023-10-26T21:48:55.363" v="61"/>
          <ac:spMkLst>
            <pc:docMk/>
            <pc:sldMk cId="1598854783" sldId="587"/>
            <ac:spMk id="46" creationId="{00000000-0000-0000-0000-000000000000}"/>
          </ac:spMkLst>
        </pc:spChg>
        <pc:spChg chg="mod">
          <ac:chgData name="Eileen Fleming Suse" userId="S::efs3844@ads.northwestern.edu::725c94ef-d051-42d7-9d33-8572765d592b" providerId="AD" clId="Web-{AC5E249F-4AD8-EC7C-FB2F-902F01AC2000}" dt="2023-10-27T16:13:30.342" v="345" actId="1076"/>
          <ac:spMkLst>
            <pc:docMk/>
            <pc:sldMk cId="1598854783" sldId="587"/>
            <ac:spMk id="47" creationId="{00000000-0000-0000-0000-000000000000}"/>
          </ac:spMkLst>
        </pc:spChg>
        <pc:spChg chg="add">
          <ac:chgData name="Eileen Fleming Suse" userId="S::efs3844@ads.northwestern.edu::725c94ef-d051-42d7-9d33-8572765d592b" providerId="AD" clId="Web-{AC5E249F-4AD8-EC7C-FB2F-902F01AC2000}" dt="2023-10-26T21:48:55.675" v="62"/>
          <ac:spMkLst>
            <pc:docMk/>
            <pc:sldMk cId="1598854783" sldId="587"/>
            <ac:spMk id="49" creationId="{E2210AC7-88E9-3DF2-B6FD-284390179A81}"/>
          </ac:spMkLst>
        </pc:spChg>
        <pc:spChg chg="add">
          <ac:chgData name="Eileen Fleming Suse" userId="S::efs3844@ads.northwestern.edu::725c94ef-d051-42d7-9d33-8572765d592b" providerId="AD" clId="Web-{AC5E249F-4AD8-EC7C-FB2F-902F01AC2000}" dt="2023-10-26T21:48:55.707" v="63"/>
          <ac:spMkLst>
            <pc:docMk/>
            <pc:sldMk cId="1598854783" sldId="587"/>
            <ac:spMk id="51" creationId="{24A2DEC9-4CC0-CBF0-5D9A-524D9EFAEE1C}"/>
          </ac:spMkLst>
        </pc:spChg>
        <pc:spChg chg="add">
          <ac:chgData name="Eileen Fleming Suse" userId="S::efs3844@ads.northwestern.edu::725c94ef-d051-42d7-9d33-8572765d592b" providerId="AD" clId="Web-{AC5E249F-4AD8-EC7C-FB2F-902F01AC2000}" dt="2023-10-26T21:48:55.738" v="64"/>
          <ac:spMkLst>
            <pc:docMk/>
            <pc:sldMk cId="1598854783" sldId="587"/>
            <ac:spMk id="53" creationId="{0E0706BB-4123-83DA-E93A-66A50F4484A3}"/>
          </ac:spMkLst>
        </pc:spChg>
      </pc:sldChg>
      <pc:sldChg chg="addSp delSp modSp add ord">
        <pc:chgData name="Eileen Fleming Suse" userId="S::efs3844@ads.northwestern.edu::725c94ef-d051-42d7-9d33-8572765d592b" providerId="AD" clId="Web-{AC5E249F-4AD8-EC7C-FB2F-902F01AC2000}" dt="2023-10-26T21:51:10.837" v="103" actId="1076"/>
        <pc:sldMkLst>
          <pc:docMk/>
          <pc:sldMk cId="3832963388" sldId="588"/>
        </pc:sldMkLst>
        <pc:spChg chg="del">
          <ac:chgData name="Eileen Fleming Suse" userId="S::efs3844@ads.northwestern.edu::725c94ef-d051-42d7-9d33-8572765d592b" providerId="AD" clId="Web-{AC5E249F-4AD8-EC7C-FB2F-902F01AC2000}" dt="2023-10-26T21:49:27.208" v="68"/>
          <ac:spMkLst>
            <pc:docMk/>
            <pc:sldMk cId="3832963388" sldId="588"/>
            <ac:spMk id="4" creationId="{00000000-0000-0000-0000-000000000000}"/>
          </ac:spMkLst>
        </pc:spChg>
        <pc:spChg chg="mod">
          <ac:chgData name="Eileen Fleming Suse" userId="S::efs3844@ads.northwestern.edu::725c94ef-d051-42d7-9d33-8572765d592b" providerId="AD" clId="Web-{AC5E249F-4AD8-EC7C-FB2F-902F01AC2000}" dt="2023-10-26T21:51:10.602" v="98" actId="1076"/>
          <ac:spMkLst>
            <pc:docMk/>
            <pc:sldMk cId="3832963388" sldId="588"/>
            <ac:spMk id="15" creationId="{00000000-0000-0000-0000-000000000000}"/>
          </ac:spMkLst>
        </pc:spChg>
        <pc:spChg chg="mod">
          <ac:chgData name="Eileen Fleming Suse" userId="S::efs3844@ads.northwestern.edu::725c94ef-d051-42d7-9d33-8572765d592b" providerId="AD" clId="Web-{AC5E249F-4AD8-EC7C-FB2F-902F01AC2000}" dt="2023-10-26T21:51:10.634" v="99" actId="1076"/>
          <ac:spMkLst>
            <pc:docMk/>
            <pc:sldMk cId="3832963388" sldId="588"/>
            <ac:spMk id="16" creationId="{00000000-0000-0000-0000-000000000000}"/>
          </ac:spMkLst>
        </pc:spChg>
        <pc:spChg chg="mod">
          <ac:chgData name="Eileen Fleming Suse" userId="S::efs3844@ads.northwestern.edu::725c94ef-d051-42d7-9d33-8572765d592b" providerId="AD" clId="Web-{AC5E249F-4AD8-EC7C-FB2F-902F01AC2000}" dt="2023-10-26T21:51:10.680" v="100" actId="1076"/>
          <ac:spMkLst>
            <pc:docMk/>
            <pc:sldMk cId="3832963388" sldId="588"/>
            <ac:spMk id="17" creationId="{00000000-0000-0000-0000-000000000000}"/>
          </ac:spMkLst>
        </pc:spChg>
        <pc:spChg chg="mod">
          <ac:chgData name="Eileen Fleming Suse" userId="S::efs3844@ads.northwestern.edu::725c94ef-d051-42d7-9d33-8572765d592b" providerId="AD" clId="Web-{AC5E249F-4AD8-EC7C-FB2F-902F01AC2000}" dt="2023-10-26T21:51:10.743" v="101" actId="1076"/>
          <ac:spMkLst>
            <pc:docMk/>
            <pc:sldMk cId="3832963388" sldId="588"/>
            <ac:spMk id="18" creationId="{00000000-0000-0000-0000-000000000000}"/>
          </ac:spMkLst>
        </pc:spChg>
        <pc:spChg chg="mod">
          <ac:chgData name="Eileen Fleming Suse" userId="S::efs3844@ads.northwestern.edu::725c94ef-d051-42d7-9d33-8572765d592b" providerId="AD" clId="Web-{AC5E249F-4AD8-EC7C-FB2F-902F01AC2000}" dt="2023-10-26T21:51:10.790" v="102" actId="1076"/>
          <ac:spMkLst>
            <pc:docMk/>
            <pc:sldMk cId="3832963388" sldId="588"/>
            <ac:spMk id="19" creationId="{00000000-0000-0000-0000-000000000000}"/>
          </ac:spMkLst>
        </pc:spChg>
        <pc:spChg chg="mod">
          <ac:chgData name="Eileen Fleming Suse" userId="S::efs3844@ads.northwestern.edu::725c94ef-d051-42d7-9d33-8572765d592b" providerId="AD" clId="Web-{AC5E249F-4AD8-EC7C-FB2F-902F01AC2000}" dt="2023-10-26T21:51:10.837" v="103" actId="1076"/>
          <ac:spMkLst>
            <pc:docMk/>
            <pc:sldMk cId="3832963388" sldId="588"/>
            <ac:spMk id="20" creationId="{00000000-0000-0000-0000-000000000000}"/>
          </ac:spMkLst>
        </pc:spChg>
        <pc:spChg chg="mod">
          <ac:chgData name="Eileen Fleming Suse" userId="S::efs3844@ads.northwestern.edu::725c94ef-d051-42d7-9d33-8572765d592b" providerId="AD" clId="Web-{AC5E249F-4AD8-EC7C-FB2F-902F01AC2000}" dt="2023-10-26T21:49:27.723" v="72" actId="1076"/>
          <ac:spMkLst>
            <pc:docMk/>
            <pc:sldMk cId="3832963388" sldId="588"/>
            <ac:spMk id="22" creationId="{00000000-0000-0000-0000-000000000000}"/>
          </ac:spMkLst>
        </pc:spChg>
        <pc:spChg chg="del">
          <ac:chgData name="Eileen Fleming Suse" userId="S::efs3844@ads.northwestern.edu::725c94ef-d051-42d7-9d33-8572765d592b" providerId="AD" clId="Web-{AC5E249F-4AD8-EC7C-FB2F-902F01AC2000}" dt="2023-10-26T21:49:26.473" v="67"/>
          <ac:spMkLst>
            <pc:docMk/>
            <pc:sldMk cId="3832963388" sldId="588"/>
            <ac:spMk id="23" creationId="{00000000-0000-0000-0000-000000000000}"/>
          </ac:spMkLst>
        </pc:spChg>
        <pc:spChg chg="mod">
          <ac:chgData name="Eileen Fleming Suse" userId="S::efs3844@ads.northwestern.edu::725c94ef-d051-42d7-9d33-8572765d592b" providerId="AD" clId="Web-{AC5E249F-4AD8-EC7C-FB2F-902F01AC2000}" dt="2023-10-26T21:50:41.961" v="91" actId="1076"/>
          <ac:spMkLst>
            <pc:docMk/>
            <pc:sldMk cId="3832963388" sldId="588"/>
            <ac:spMk id="24" creationId="{00000000-0000-0000-0000-000000000000}"/>
          </ac:spMkLst>
        </pc:spChg>
        <pc:spChg chg="mod">
          <ac:chgData name="Eileen Fleming Suse" userId="S::efs3844@ads.northwestern.edu::725c94ef-d051-42d7-9d33-8572765d592b" providerId="AD" clId="Web-{AC5E249F-4AD8-EC7C-FB2F-902F01AC2000}" dt="2023-10-26T21:50:27.913" v="88" actId="1076"/>
          <ac:spMkLst>
            <pc:docMk/>
            <pc:sldMk cId="3832963388" sldId="588"/>
            <ac:spMk id="25" creationId="{00000000-0000-0000-0000-000000000000}"/>
          </ac:spMkLst>
        </pc:spChg>
        <pc:spChg chg="mod">
          <ac:chgData name="Eileen Fleming Suse" userId="S::efs3844@ads.northwestern.edu::725c94ef-d051-42d7-9d33-8572765d592b" providerId="AD" clId="Web-{AC5E249F-4AD8-EC7C-FB2F-902F01AC2000}" dt="2023-10-26T21:50:27.038" v="85" actId="1076"/>
          <ac:spMkLst>
            <pc:docMk/>
            <pc:sldMk cId="3832963388" sldId="588"/>
            <ac:spMk id="26" creationId="{00000000-0000-0000-0000-000000000000}"/>
          </ac:spMkLst>
        </pc:spChg>
        <pc:spChg chg="mod">
          <ac:chgData name="Eileen Fleming Suse" userId="S::efs3844@ads.northwestern.edu::725c94ef-d051-42d7-9d33-8572765d592b" providerId="AD" clId="Web-{AC5E249F-4AD8-EC7C-FB2F-902F01AC2000}" dt="2023-10-26T21:50:56.242" v="94" actId="1076"/>
          <ac:spMkLst>
            <pc:docMk/>
            <pc:sldMk cId="3832963388" sldId="588"/>
            <ac:spMk id="27" creationId="{00000000-0000-0000-0000-000000000000}"/>
          </ac:spMkLst>
        </pc:spChg>
        <pc:spChg chg="mod">
          <ac:chgData name="Eileen Fleming Suse" userId="S::efs3844@ads.northwestern.edu::725c94ef-d051-42d7-9d33-8572765d592b" providerId="AD" clId="Web-{AC5E249F-4AD8-EC7C-FB2F-902F01AC2000}" dt="2023-10-26T21:50:56.274" v="95" actId="1076"/>
          <ac:spMkLst>
            <pc:docMk/>
            <pc:sldMk cId="3832963388" sldId="588"/>
            <ac:spMk id="28" creationId="{00000000-0000-0000-0000-000000000000}"/>
          </ac:spMkLst>
        </pc:spChg>
        <pc:spChg chg="mod">
          <ac:chgData name="Eileen Fleming Suse" userId="S::efs3844@ads.northwestern.edu::725c94ef-d051-42d7-9d33-8572765d592b" providerId="AD" clId="Web-{AC5E249F-4AD8-EC7C-FB2F-902F01AC2000}" dt="2023-10-26T21:50:41.336" v="89" actId="1076"/>
          <ac:spMkLst>
            <pc:docMk/>
            <pc:sldMk cId="3832963388" sldId="588"/>
            <ac:spMk id="29" creationId="{00000000-0000-0000-0000-000000000000}"/>
          </ac:spMkLst>
        </pc:spChg>
        <pc:spChg chg="mod">
          <ac:chgData name="Eileen Fleming Suse" userId="S::efs3844@ads.northwestern.edu::725c94ef-d051-42d7-9d33-8572765d592b" providerId="AD" clId="Web-{AC5E249F-4AD8-EC7C-FB2F-902F01AC2000}" dt="2023-10-26T21:50:27.101" v="86" actId="1076"/>
          <ac:spMkLst>
            <pc:docMk/>
            <pc:sldMk cId="3832963388" sldId="588"/>
            <ac:spMk id="30" creationId="{00000000-0000-0000-0000-000000000000}"/>
          </ac:spMkLst>
        </pc:spChg>
        <pc:spChg chg="mod">
          <ac:chgData name="Eileen Fleming Suse" userId="S::efs3844@ads.northwestern.edu::725c94ef-d051-42d7-9d33-8572765d592b" providerId="AD" clId="Web-{AC5E249F-4AD8-EC7C-FB2F-902F01AC2000}" dt="2023-10-26T21:50:27.163" v="87" actId="1076"/>
          <ac:spMkLst>
            <pc:docMk/>
            <pc:sldMk cId="3832963388" sldId="588"/>
            <ac:spMk id="31" creationId="{00000000-0000-0000-0000-000000000000}"/>
          </ac:spMkLst>
        </pc:spChg>
        <pc:spChg chg="mod">
          <ac:chgData name="Eileen Fleming Suse" userId="S::efs3844@ads.northwestern.edu::725c94ef-d051-42d7-9d33-8572765d592b" providerId="AD" clId="Web-{AC5E249F-4AD8-EC7C-FB2F-902F01AC2000}" dt="2023-10-26T21:50:56.321" v="96" actId="1076"/>
          <ac:spMkLst>
            <pc:docMk/>
            <pc:sldMk cId="3832963388" sldId="588"/>
            <ac:spMk id="32" creationId="{00000000-0000-0000-0000-000000000000}"/>
          </ac:spMkLst>
        </pc:spChg>
        <pc:spChg chg="mod">
          <ac:chgData name="Eileen Fleming Suse" userId="S::efs3844@ads.northwestern.edu::725c94ef-d051-42d7-9d33-8572765d592b" providerId="AD" clId="Web-{AC5E249F-4AD8-EC7C-FB2F-902F01AC2000}" dt="2023-10-26T21:50:56.367" v="97" actId="1076"/>
          <ac:spMkLst>
            <pc:docMk/>
            <pc:sldMk cId="3832963388" sldId="588"/>
            <ac:spMk id="33" creationId="{00000000-0000-0000-0000-000000000000}"/>
          </ac:spMkLst>
        </pc:spChg>
        <pc:spChg chg="mod">
          <ac:chgData name="Eileen Fleming Suse" userId="S::efs3844@ads.northwestern.edu::725c94ef-d051-42d7-9d33-8572765d592b" providerId="AD" clId="Web-{AC5E249F-4AD8-EC7C-FB2F-902F01AC2000}" dt="2023-10-26T21:45:55.043" v="18" actId="20577"/>
          <ac:spMkLst>
            <pc:docMk/>
            <pc:sldMk cId="3832963388" sldId="588"/>
            <ac:spMk id="34" creationId="{00000000-0000-0000-0000-000000000000}"/>
          </ac:spMkLst>
        </pc:spChg>
        <pc:spChg chg="add">
          <ac:chgData name="Eileen Fleming Suse" userId="S::efs3844@ads.northwestern.edu::725c94ef-d051-42d7-9d33-8572765d592b" providerId="AD" clId="Web-{AC5E249F-4AD8-EC7C-FB2F-902F01AC2000}" dt="2023-10-26T21:49:27.426" v="69"/>
          <ac:spMkLst>
            <pc:docMk/>
            <pc:sldMk cId="3832963388" sldId="588"/>
            <ac:spMk id="36" creationId="{3EFC5C80-E693-6C51-4DEF-583812BEAB54}"/>
          </ac:spMkLst>
        </pc:spChg>
        <pc:spChg chg="add">
          <ac:chgData name="Eileen Fleming Suse" userId="S::efs3844@ads.northwestern.edu::725c94ef-d051-42d7-9d33-8572765d592b" providerId="AD" clId="Web-{AC5E249F-4AD8-EC7C-FB2F-902F01AC2000}" dt="2023-10-26T21:49:27.489" v="70"/>
          <ac:spMkLst>
            <pc:docMk/>
            <pc:sldMk cId="3832963388" sldId="588"/>
            <ac:spMk id="38" creationId="{9B32A794-89CE-3CF7-CCFB-FB03BB567C6D}"/>
          </ac:spMkLst>
        </pc:spChg>
        <pc:spChg chg="add">
          <ac:chgData name="Eileen Fleming Suse" userId="S::efs3844@ads.northwestern.edu::725c94ef-d051-42d7-9d33-8572765d592b" providerId="AD" clId="Web-{AC5E249F-4AD8-EC7C-FB2F-902F01AC2000}" dt="2023-10-26T21:49:27.551" v="71"/>
          <ac:spMkLst>
            <pc:docMk/>
            <pc:sldMk cId="3832963388" sldId="588"/>
            <ac:spMk id="40" creationId="{75C1E2E3-7399-8294-DAEC-AEBB0FCAC9D7}"/>
          </ac:spMkLst>
        </pc:spChg>
        <pc:grpChg chg="mod">
          <ac:chgData name="Eileen Fleming Suse" userId="S::efs3844@ads.northwestern.edu::725c94ef-d051-42d7-9d33-8572765d592b" providerId="AD" clId="Web-{AC5E249F-4AD8-EC7C-FB2F-902F01AC2000}" dt="2023-10-26T21:50:56.149" v="92" actId="1076"/>
          <ac:grpSpMkLst>
            <pc:docMk/>
            <pc:sldMk cId="3832963388" sldId="588"/>
            <ac:grpSpMk id="5" creationId="{00000000-0000-0000-0000-000000000000}"/>
          </ac:grpSpMkLst>
        </pc:grpChg>
        <pc:grpChg chg="mod">
          <ac:chgData name="Eileen Fleming Suse" userId="S::efs3844@ads.northwestern.edu::725c94ef-d051-42d7-9d33-8572765d592b" providerId="AD" clId="Web-{AC5E249F-4AD8-EC7C-FB2F-902F01AC2000}" dt="2023-10-26T21:50:26.944" v="83" actId="1076"/>
          <ac:grpSpMkLst>
            <pc:docMk/>
            <pc:sldMk cId="3832963388" sldId="588"/>
            <ac:grpSpMk id="7" creationId="{00000000-0000-0000-0000-000000000000}"/>
          </ac:grpSpMkLst>
        </pc:grpChg>
        <pc:grpChg chg="mod">
          <ac:chgData name="Eileen Fleming Suse" userId="S::efs3844@ads.northwestern.edu::725c94ef-d051-42d7-9d33-8572765d592b" providerId="AD" clId="Web-{AC5E249F-4AD8-EC7C-FB2F-902F01AC2000}" dt="2023-10-26T21:50:26.991" v="84" actId="1076"/>
          <ac:grpSpMkLst>
            <pc:docMk/>
            <pc:sldMk cId="3832963388" sldId="588"/>
            <ac:grpSpMk id="9" creationId="{00000000-0000-0000-0000-000000000000}"/>
          </ac:grpSpMkLst>
        </pc:grpChg>
        <pc:grpChg chg="mod">
          <ac:chgData name="Eileen Fleming Suse" userId="S::efs3844@ads.northwestern.edu::725c94ef-d051-42d7-9d33-8572765d592b" providerId="AD" clId="Web-{AC5E249F-4AD8-EC7C-FB2F-902F01AC2000}" dt="2023-10-26T21:50:41.836" v="90" actId="1076"/>
          <ac:grpSpMkLst>
            <pc:docMk/>
            <pc:sldMk cId="3832963388" sldId="588"/>
            <ac:grpSpMk id="11" creationId="{00000000-0000-0000-0000-000000000000}"/>
          </ac:grpSpMkLst>
        </pc:grpChg>
        <pc:grpChg chg="mod">
          <ac:chgData name="Eileen Fleming Suse" userId="S::efs3844@ads.northwestern.edu::725c94ef-d051-42d7-9d33-8572765d592b" providerId="AD" clId="Web-{AC5E249F-4AD8-EC7C-FB2F-902F01AC2000}" dt="2023-10-26T21:50:56.196" v="93" actId="1076"/>
          <ac:grpSpMkLst>
            <pc:docMk/>
            <pc:sldMk cId="3832963388" sldId="588"/>
            <ac:grpSpMk id="13" creationId="{00000000-0000-0000-0000-000000000000}"/>
          </ac:grpSpMkLst>
        </pc:grpChg>
      </pc:sldChg>
      <pc:sldChg chg="addSp delSp modSp add ord">
        <pc:chgData name="Eileen Fleming Suse" userId="S::efs3844@ads.northwestern.edu::725c94ef-d051-42d7-9d33-8572765d592b" providerId="AD" clId="Web-{AC5E249F-4AD8-EC7C-FB2F-902F01AC2000}" dt="2023-10-27T16:13:42.624" v="346"/>
        <pc:sldMkLst>
          <pc:docMk/>
          <pc:sldMk cId="435998680" sldId="589"/>
        </pc:sldMkLst>
        <pc:spChg chg="del">
          <ac:chgData name="Eileen Fleming Suse" userId="S::efs3844@ads.northwestern.edu::725c94ef-d051-42d7-9d33-8572765d592b" providerId="AD" clId="Web-{AC5E249F-4AD8-EC7C-FB2F-902F01AC2000}" dt="2023-10-26T21:47:48.595" v="38"/>
          <ac:spMkLst>
            <pc:docMk/>
            <pc:sldMk cId="435998680" sldId="589"/>
            <ac:spMk id="4" creationId="{00000000-0000-0000-0000-000000000000}"/>
          </ac:spMkLst>
        </pc:spChg>
        <pc:spChg chg="del mod">
          <ac:chgData name="Eileen Fleming Suse" userId="S::efs3844@ads.northwestern.edu::725c94ef-d051-42d7-9d33-8572765d592b" providerId="AD" clId="Web-{AC5E249F-4AD8-EC7C-FB2F-902F01AC2000}" dt="2023-10-26T21:47:50.360" v="40"/>
          <ac:spMkLst>
            <pc:docMk/>
            <pc:sldMk cId="435998680" sldId="589"/>
            <ac:spMk id="12" creationId="{00000000-0000-0000-0000-000000000000}"/>
          </ac:spMkLst>
        </pc:spChg>
        <pc:spChg chg="mod">
          <ac:chgData name="Eileen Fleming Suse" userId="S::efs3844@ads.northwestern.edu::725c94ef-d051-42d7-9d33-8572765d592b" providerId="AD" clId="Web-{AC5E249F-4AD8-EC7C-FB2F-902F01AC2000}" dt="2023-10-26T21:45:51.981" v="16" actId="20577"/>
          <ac:spMkLst>
            <pc:docMk/>
            <pc:sldMk cId="435998680" sldId="589"/>
            <ac:spMk id="17" creationId="{00000000-0000-0000-0000-000000000000}"/>
          </ac:spMkLst>
        </pc:spChg>
        <pc:spChg chg="add">
          <ac:chgData name="Eileen Fleming Suse" userId="S::efs3844@ads.northwestern.edu::725c94ef-d051-42d7-9d33-8572765d592b" providerId="AD" clId="Web-{AC5E249F-4AD8-EC7C-FB2F-902F01AC2000}" dt="2023-10-26T21:47:51.751" v="41"/>
          <ac:spMkLst>
            <pc:docMk/>
            <pc:sldMk cId="435998680" sldId="589"/>
            <ac:spMk id="19" creationId="{4F38B046-5CD5-F005-45E3-2034830DFD34}"/>
          </ac:spMkLst>
        </pc:spChg>
        <pc:spChg chg="add">
          <ac:chgData name="Eileen Fleming Suse" userId="S::efs3844@ads.northwestern.edu::725c94ef-d051-42d7-9d33-8572765d592b" providerId="AD" clId="Web-{AC5E249F-4AD8-EC7C-FB2F-902F01AC2000}" dt="2023-10-26T21:47:51.798" v="42"/>
          <ac:spMkLst>
            <pc:docMk/>
            <pc:sldMk cId="435998680" sldId="589"/>
            <ac:spMk id="21" creationId="{A35E0C3C-CC22-A1A0-8E94-9EEE65798BD1}"/>
          </ac:spMkLst>
        </pc:spChg>
        <pc:spChg chg="add">
          <ac:chgData name="Eileen Fleming Suse" userId="S::efs3844@ads.northwestern.edu::725c94ef-d051-42d7-9d33-8572765d592b" providerId="AD" clId="Web-{AC5E249F-4AD8-EC7C-FB2F-902F01AC2000}" dt="2023-10-26T21:47:51.813" v="43"/>
          <ac:spMkLst>
            <pc:docMk/>
            <pc:sldMk cId="435998680" sldId="589"/>
            <ac:spMk id="23" creationId="{4187CCE4-601B-24DB-941F-235B18EDE475}"/>
          </ac:spMkLst>
        </pc:spChg>
      </pc:sldChg>
      <pc:sldChg chg="addSp delSp add ord">
        <pc:chgData name="Eileen Fleming Suse" userId="S::efs3844@ads.northwestern.edu::725c94ef-d051-42d7-9d33-8572765d592b" providerId="AD" clId="Web-{AC5E249F-4AD8-EC7C-FB2F-902F01AC2000}" dt="2023-10-26T21:48:38.488" v="55"/>
        <pc:sldMkLst>
          <pc:docMk/>
          <pc:sldMk cId="595546358" sldId="590"/>
        </pc:sldMkLst>
        <pc:spChg chg="del">
          <ac:chgData name="Eileen Fleming Suse" userId="S::efs3844@ads.northwestern.edu::725c94ef-d051-42d7-9d33-8572765d592b" providerId="AD" clId="Web-{AC5E249F-4AD8-EC7C-FB2F-902F01AC2000}" dt="2023-10-26T21:48:24.174" v="49"/>
          <ac:spMkLst>
            <pc:docMk/>
            <pc:sldMk cId="595546358" sldId="590"/>
            <ac:spMk id="4" creationId="{00000000-0000-0000-0000-000000000000}"/>
          </ac:spMkLst>
        </pc:spChg>
        <pc:spChg chg="del">
          <ac:chgData name="Eileen Fleming Suse" userId="S::efs3844@ads.northwestern.edu::725c94ef-d051-42d7-9d33-8572765d592b" providerId="AD" clId="Web-{AC5E249F-4AD8-EC7C-FB2F-902F01AC2000}" dt="2023-10-26T21:48:24.283" v="50"/>
          <ac:spMkLst>
            <pc:docMk/>
            <pc:sldMk cId="595546358" sldId="590"/>
            <ac:spMk id="23" creationId="{00000000-0000-0000-0000-000000000000}"/>
          </ac:spMkLst>
        </pc:spChg>
        <pc:spChg chg="add">
          <ac:chgData name="Eileen Fleming Suse" userId="S::efs3844@ads.northwestern.edu::725c94ef-d051-42d7-9d33-8572765d592b" providerId="AD" clId="Web-{AC5E249F-4AD8-EC7C-FB2F-902F01AC2000}" dt="2023-10-26T21:48:24.393" v="51"/>
          <ac:spMkLst>
            <pc:docMk/>
            <pc:sldMk cId="595546358" sldId="590"/>
            <ac:spMk id="30" creationId="{53721EF8-C35D-834E-9339-D65FFE7AFF9A}"/>
          </ac:spMkLst>
        </pc:spChg>
        <pc:spChg chg="add">
          <ac:chgData name="Eileen Fleming Suse" userId="S::efs3844@ads.northwestern.edu::725c94ef-d051-42d7-9d33-8572765d592b" providerId="AD" clId="Web-{AC5E249F-4AD8-EC7C-FB2F-902F01AC2000}" dt="2023-10-26T21:48:24.408" v="52"/>
          <ac:spMkLst>
            <pc:docMk/>
            <pc:sldMk cId="595546358" sldId="590"/>
            <ac:spMk id="32" creationId="{F1AED984-C21E-AA63-E34E-DA61BCE8401F}"/>
          </ac:spMkLst>
        </pc:spChg>
        <pc:spChg chg="add">
          <ac:chgData name="Eileen Fleming Suse" userId="S::efs3844@ads.northwestern.edu::725c94ef-d051-42d7-9d33-8572765d592b" providerId="AD" clId="Web-{AC5E249F-4AD8-EC7C-FB2F-902F01AC2000}" dt="2023-10-26T21:48:24.424" v="53"/>
          <ac:spMkLst>
            <pc:docMk/>
            <pc:sldMk cId="595546358" sldId="590"/>
            <ac:spMk id="34" creationId="{6A9EBE99-61D6-2DC0-EB79-B633C9D91DD8}"/>
          </ac:spMkLst>
        </pc:spChg>
      </pc:sldChg>
      <pc:sldChg chg="addSp delSp add">
        <pc:chgData name="Eileen Fleming Suse" userId="S::efs3844@ads.northwestern.edu::725c94ef-d051-42d7-9d33-8572765d592b" providerId="AD" clId="Web-{AC5E249F-4AD8-EC7C-FB2F-902F01AC2000}" dt="2023-10-26T21:48:09.330" v="48"/>
        <pc:sldMkLst>
          <pc:docMk/>
          <pc:sldMk cId="629433230" sldId="591"/>
        </pc:sldMkLst>
        <pc:spChg chg="del">
          <ac:chgData name="Eileen Fleming Suse" userId="S::efs3844@ads.northwestern.edu::725c94ef-d051-42d7-9d33-8572765d592b" providerId="AD" clId="Web-{AC5E249F-4AD8-EC7C-FB2F-902F01AC2000}" dt="2023-10-26T21:48:05.861" v="44"/>
          <ac:spMkLst>
            <pc:docMk/>
            <pc:sldMk cId="629433230" sldId="591"/>
            <ac:spMk id="4" creationId="{00000000-0000-0000-0000-000000000000}"/>
          </ac:spMkLst>
        </pc:spChg>
        <pc:spChg chg="del">
          <ac:chgData name="Eileen Fleming Suse" userId="S::efs3844@ads.northwestern.edu::725c94ef-d051-42d7-9d33-8572765d592b" providerId="AD" clId="Web-{AC5E249F-4AD8-EC7C-FB2F-902F01AC2000}" dt="2023-10-26T21:48:08.158" v="45"/>
          <ac:spMkLst>
            <pc:docMk/>
            <pc:sldMk cId="629433230" sldId="591"/>
            <ac:spMk id="16" creationId="{00000000-0000-0000-0000-000000000000}"/>
          </ac:spMkLst>
        </pc:spChg>
        <pc:spChg chg="add">
          <ac:chgData name="Eileen Fleming Suse" userId="S::efs3844@ads.northwestern.edu::725c94ef-d051-42d7-9d33-8572765d592b" providerId="AD" clId="Web-{AC5E249F-4AD8-EC7C-FB2F-902F01AC2000}" dt="2023-10-26T21:48:09.252" v="46"/>
          <ac:spMkLst>
            <pc:docMk/>
            <pc:sldMk cId="629433230" sldId="591"/>
            <ac:spMk id="24" creationId="{82DED22A-2957-2107-97D2-7694FF88F0A5}"/>
          </ac:spMkLst>
        </pc:spChg>
        <pc:spChg chg="add">
          <ac:chgData name="Eileen Fleming Suse" userId="S::efs3844@ads.northwestern.edu::725c94ef-d051-42d7-9d33-8572765d592b" providerId="AD" clId="Web-{AC5E249F-4AD8-EC7C-FB2F-902F01AC2000}" dt="2023-10-26T21:48:09.298" v="47"/>
          <ac:spMkLst>
            <pc:docMk/>
            <pc:sldMk cId="629433230" sldId="591"/>
            <ac:spMk id="26" creationId="{7ADA2A22-B85F-E8A9-52B3-7FA1A111EB25}"/>
          </ac:spMkLst>
        </pc:spChg>
        <pc:spChg chg="add">
          <ac:chgData name="Eileen Fleming Suse" userId="S::efs3844@ads.northwestern.edu::725c94ef-d051-42d7-9d33-8572765d592b" providerId="AD" clId="Web-{AC5E249F-4AD8-EC7C-FB2F-902F01AC2000}" dt="2023-10-26T21:48:09.330" v="48"/>
          <ac:spMkLst>
            <pc:docMk/>
            <pc:sldMk cId="629433230" sldId="591"/>
            <ac:spMk id="28" creationId="{D3AD1992-E406-9041-27DE-F66F0C777757}"/>
          </ac:spMkLst>
        </pc:spChg>
      </pc:sldChg>
      <pc:sldChg chg="add del addCm">
        <pc:chgData name="Eileen Fleming Suse" userId="S::efs3844@ads.northwestern.edu::725c94ef-d051-42d7-9d33-8572765d592b" providerId="AD" clId="Web-{AC5E249F-4AD8-EC7C-FB2F-902F01AC2000}" dt="2023-10-26T22:01:28.298" v="179"/>
        <pc:sldMkLst>
          <pc:docMk/>
          <pc:sldMk cId="4102962722" sldId="592"/>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AC5E249F-4AD8-EC7C-FB2F-902F01AC2000}" dt="2023-10-26T22:01:28.298" v="179"/>
              <pc2:cmMkLst xmlns:pc2="http://schemas.microsoft.com/office/powerpoint/2019/9/main/command">
                <pc:docMk/>
                <pc:sldMk cId="4102962722" sldId="592"/>
                <pc2:cmMk id="{ED77AB97-E80B-44F4-80E6-44E381970832}"/>
              </pc2:cmMkLst>
            </pc226:cmChg>
          </p:ext>
        </pc:extLst>
      </pc:sldChg>
      <pc:sldChg chg="add del">
        <pc:chgData name="Eileen Fleming Suse" userId="S::efs3844@ads.northwestern.edu::725c94ef-d051-42d7-9d33-8572765d592b" providerId="AD" clId="Web-{AC5E249F-4AD8-EC7C-FB2F-902F01AC2000}" dt="2023-10-26T21:59:49.607" v="171"/>
        <pc:sldMkLst>
          <pc:docMk/>
          <pc:sldMk cId="3969440120" sldId="593"/>
        </pc:sldMkLst>
      </pc:sldChg>
      <pc:sldChg chg="add del">
        <pc:chgData name="Eileen Fleming Suse" userId="S::efs3844@ads.northwestern.edu::725c94ef-d051-42d7-9d33-8572765d592b" providerId="AD" clId="Web-{AC5E249F-4AD8-EC7C-FB2F-902F01AC2000}" dt="2023-10-26T21:59:49.497" v="170"/>
        <pc:sldMkLst>
          <pc:docMk/>
          <pc:sldMk cId="2412661198" sldId="594"/>
        </pc:sldMkLst>
      </pc:sldChg>
      <pc:sldChg chg="add del">
        <pc:chgData name="Eileen Fleming Suse" userId="S::efs3844@ads.northwestern.edu::725c94ef-d051-42d7-9d33-8572765d592b" providerId="AD" clId="Web-{AC5E249F-4AD8-EC7C-FB2F-902F01AC2000}" dt="2023-10-26T21:59:49.404" v="169"/>
        <pc:sldMkLst>
          <pc:docMk/>
          <pc:sldMk cId="3516145000" sldId="595"/>
        </pc:sldMkLst>
      </pc:sldChg>
      <pc:sldChg chg="add del">
        <pc:chgData name="Eileen Fleming Suse" userId="S::efs3844@ads.northwestern.edu::725c94ef-d051-42d7-9d33-8572765d592b" providerId="AD" clId="Web-{AC5E249F-4AD8-EC7C-FB2F-902F01AC2000}" dt="2023-10-26T21:59:49.341" v="168"/>
        <pc:sldMkLst>
          <pc:docMk/>
          <pc:sldMk cId="2417460478" sldId="596"/>
        </pc:sldMkLst>
      </pc:sldChg>
      <pc:sldChg chg="add del">
        <pc:chgData name="Eileen Fleming Suse" userId="S::efs3844@ads.northwestern.edu::725c94ef-d051-42d7-9d33-8572765d592b" providerId="AD" clId="Web-{AC5E249F-4AD8-EC7C-FB2F-902F01AC2000}" dt="2023-10-26T21:59:49.279" v="167"/>
        <pc:sldMkLst>
          <pc:docMk/>
          <pc:sldMk cId="81318788" sldId="597"/>
        </pc:sldMkLst>
      </pc:sldChg>
      <pc:sldChg chg="add del addCm delCm">
        <pc:chgData name="Eileen Fleming Suse" userId="S::efs3844@ads.northwestern.edu::725c94ef-d051-42d7-9d33-8572765d592b" providerId="AD" clId="Web-{AC5E249F-4AD8-EC7C-FB2F-902F01AC2000}" dt="2023-10-26T22:03:03.911" v="181"/>
        <pc:sldMkLst>
          <pc:docMk/>
          <pc:sldMk cId="1569232529" sldId="598"/>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AC5E249F-4AD8-EC7C-FB2F-902F01AC2000}" dt="2023-10-26T22:01:39.986" v="180"/>
              <pc2:cmMkLst xmlns:pc2="http://schemas.microsoft.com/office/powerpoint/2019/9/main/command">
                <pc:docMk/>
                <pc:sldMk cId="1569232529" sldId="598"/>
                <pc2:cmMk id="{137A254D-2737-4985-B0AB-6839DDC46AE0}"/>
              </pc2:cmMkLst>
            </pc226:cmChg>
            <pc226:cmChg xmlns:pc226="http://schemas.microsoft.com/office/powerpoint/2022/06/main/command" chg="add">
              <pc226:chgData name="Eileen Fleming Suse" userId="S::efs3844@ads.northwestern.edu::725c94ef-d051-42d7-9d33-8572765d592b" providerId="AD" clId="Web-{AC5E249F-4AD8-EC7C-FB2F-902F01AC2000}" dt="2023-10-26T22:03:03.911" v="181"/>
              <pc2:cmMkLst xmlns:pc2="http://schemas.microsoft.com/office/powerpoint/2019/9/main/command">
                <pc:docMk/>
                <pc:sldMk cId="1569232529" sldId="598"/>
                <pc2:cmMk id="{6C353279-3DE6-48C1-99BD-BBA70C8082BC}"/>
              </pc2:cmMkLst>
            </pc226:cmChg>
          </p:ext>
        </pc:extLst>
      </pc:sldChg>
      <pc:sldChg chg="add del">
        <pc:chgData name="Eileen Fleming Suse" userId="S::efs3844@ads.northwestern.edu::725c94ef-d051-42d7-9d33-8572765d592b" providerId="AD" clId="Web-{AC5E249F-4AD8-EC7C-FB2F-902F01AC2000}" dt="2023-10-27T16:04:51.687" v="308"/>
        <pc:sldMkLst>
          <pc:docMk/>
          <pc:sldMk cId="2439308623" sldId="599"/>
        </pc:sldMkLst>
      </pc:sldChg>
    </pc:docChg>
  </pc:docChgLst>
  <pc:docChgLst>
    <pc:chgData name="Eileen Fleming Suse" userId="S::efs3844@ads.northwestern.edu::725c94ef-d051-42d7-9d33-8572765d592b" providerId="AD" clId="Web-{22D2D811-4E65-4C88-896C-E87684E0524E}"/>
    <pc:docChg chg="addSld delSld modSld sldOrd addMainMaster modMainMaster">
      <pc:chgData name="Eileen Fleming Suse" userId="S::efs3844@ads.northwestern.edu::725c94ef-d051-42d7-9d33-8572765d592b" providerId="AD" clId="Web-{22D2D811-4E65-4C88-896C-E87684E0524E}" dt="2023-10-27T19:12:45.418" v="258" actId="1076"/>
      <pc:docMkLst>
        <pc:docMk/>
      </pc:docMkLst>
      <pc:sldChg chg="modSp">
        <pc:chgData name="Eileen Fleming Suse" userId="S::efs3844@ads.northwestern.edu::725c94ef-d051-42d7-9d33-8572765d592b" providerId="AD" clId="Web-{22D2D811-4E65-4C88-896C-E87684E0524E}" dt="2023-10-27T18:33:04.306" v="44" actId="20577"/>
        <pc:sldMkLst>
          <pc:docMk/>
          <pc:sldMk cId="3472964082" sldId="550"/>
        </pc:sldMkLst>
        <pc:spChg chg="mod">
          <ac:chgData name="Eileen Fleming Suse" userId="S::efs3844@ads.northwestern.edu::725c94ef-d051-42d7-9d33-8572765d592b" providerId="AD" clId="Web-{22D2D811-4E65-4C88-896C-E87684E0524E}" dt="2023-10-27T18:33:04.306" v="44" actId="20577"/>
          <ac:spMkLst>
            <pc:docMk/>
            <pc:sldMk cId="3472964082" sldId="550"/>
            <ac:spMk id="23" creationId="{00000000-0000-0000-0000-000000000000}"/>
          </ac:spMkLst>
        </pc:spChg>
      </pc:sldChg>
      <pc:sldChg chg="modNotes">
        <pc:chgData name="Eileen Fleming Suse" userId="S::efs3844@ads.northwestern.edu::725c94ef-d051-42d7-9d33-8572765d592b" providerId="AD" clId="Web-{22D2D811-4E65-4C88-896C-E87684E0524E}" dt="2023-10-27T18:11:52.843" v="38"/>
        <pc:sldMkLst>
          <pc:docMk/>
          <pc:sldMk cId="2562283095" sldId="551"/>
        </pc:sldMkLst>
      </pc:sldChg>
      <pc:sldChg chg="modSp modNotes">
        <pc:chgData name="Eileen Fleming Suse" userId="S::efs3844@ads.northwestern.edu::725c94ef-d051-42d7-9d33-8572765d592b" providerId="AD" clId="Web-{22D2D811-4E65-4C88-896C-E87684E0524E}" dt="2023-10-27T18:51:13.798" v="179" actId="20577"/>
        <pc:sldMkLst>
          <pc:docMk/>
          <pc:sldMk cId="3067427377" sldId="560"/>
        </pc:sldMkLst>
        <pc:spChg chg="mod">
          <ac:chgData name="Eileen Fleming Suse" userId="S::efs3844@ads.northwestern.edu::725c94ef-d051-42d7-9d33-8572765d592b" providerId="AD" clId="Web-{22D2D811-4E65-4C88-896C-E87684E0524E}" dt="2023-10-27T18:51:13.798" v="179" actId="20577"/>
          <ac:spMkLst>
            <pc:docMk/>
            <pc:sldMk cId="3067427377" sldId="560"/>
            <ac:spMk id="3" creationId="{E7ECD19B-85BC-6652-2856-676802964CFA}"/>
          </ac:spMkLst>
        </pc:spChg>
      </pc:sldChg>
      <pc:sldChg chg="modSp modNotes">
        <pc:chgData name="Eileen Fleming Suse" userId="S::efs3844@ads.northwestern.edu::725c94ef-d051-42d7-9d33-8572765d592b" providerId="AD" clId="Web-{22D2D811-4E65-4C88-896C-E87684E0524E}" dt="2023-10-27T19:12:45.418" v="258" actId="1076"/>
        <pc:sldMkLst>
          <pc:docMk/>
          <pc:sldMk cId="1141815353" sldId="562"/>
        </pc:sldMkLst>
        <pc:spChg chg="mod">
          <ac:chgData name="Eileen Fleming Suse" userId="S::efs3844@ads.northwestern.edu::725c94ef-d051-42d7-9d33-8572765d592b" providerId="AD" clId="Web-{22D2D811-4E65-4C88-896C-E87684E0524E}" dt="2023-10-27T19:12:45.418" v="258" actId="1076"/>
          <ac:spMkLst>
            <pc:docMk/>
            <pc:sldMk cId="1141815353" sldId="562"/>
            <ac:spMk id="2" creationId="{05579FEB-3306-A04E-6516-F16994F3B0F9}"/>
          </ac:spMkLst>
        </pc:spChg>
        <pc:spChg chg="mod">
          <ac:chgData name="Eileen Fleming Suse" userId="S::efs3844@ads.northwestern.edu::725c94ef-d051-42d7-9d33-8572765d592b" providerId="AD" clId="Web-{22D2D811-4E65-4C88-896C-E87684E0524E}" dt="2023-10-27T19:12:36.012" v="257" actId="1076"/>
          <ac:spMkLst>
            <pc:docMk/>
            <pc:sldMk cId="1141815353" sldId="562"/>
            <ac:spMk id="360" creationId="{FE59A3A2-BFF2-9772-51D6-9CCB620AEB53}"/>
          </ac:spMkLst>
        </pc:spChg>
        <pc:graphicFrameChg chg="mod modGraphic">
          <ac:chgData name="Eileen Fleming Suse" userId="S::efs3844@ads.northwestern.edu::725c94ef-d051-42d7-9d33-8572765d592b" providerId="AD" clId="Web-{22D2D811-4E65-4C88-896C-E87684E0524E}" dt="2023-10-27T19:12:25.184" v="255" actId="20577"/>
          <ac:graphicFrameMkLst>
            <pc:docMk/>
            <pc:sldMk cId="1141815353" sldId="562"/>
            <ac:graphicFrameMk id="137" creationId="{61D68665-D38F-2DB1-AAFC-535C715B7F9F}"/>
          </ac:graphicFrameMkLst>
        </pc:graphicFrameChg>
      </pc:sldChg>
      <pc:sldChg chg="ord modNotes">
        <pc:chgData name="Eileen Fleming Suse" userId="S::efs3844@ads.northwestern.edu::725c94ef-d051-42d7-9d33-8572765d592b" providerId="AD" clId="Web-{22D2D811-4E65-4C88-896C-E87684E0524E}" dt="2023-10-27T19:01:49.670" v="207"/>
        <pc:sldMkLst>
          <pc:docMk/>
          <pc:sldMk cId="1536434647" sldId="564"/>
        </pc:sldMkLst>
      </pc:sldChg>
      <pc:sldChg chg="modCm">
        <pc:chgData name="Eileen Fleming Suse" userId="S::efs3844@ads.northwestern.edu::725c94ef-d051-42d7-9d33-8572765d592b" providerId="AD" clId="Web-{22D2D811-4E65-4C88-896C-E87684E0524E}" dt="2023-10-27T18:24:45.031" v="40"/>
        <pc:sldMkLst>
          <pc:docMk/>
          <pc:sldMk cId="2564870475" sldId="566"/>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8:24:45.031" v="40"/>
              <pc2:cmMkLst xmlns:pc2="http://schemas.microsoft.com/office/powerpoint/2019/9/main/command">
                <pc:docMk/>
                <pc:sldMk cId="2564870475" sldId="566"/>
                <pc2:cmMk id="{2E54611F-EF9E-406A-A7DB-E8AA469FE59F}"/>
              </pc2:cmMkLst>
            </pc226:cmChg>
          </p:ext>
        </pc:extLst>
      </pc:sldChg>
      <pc:sldChg chg="modSp">
        <pc:chgData name="Eileen Fleming Suse" userId="S::efs3844@ads.northwestern.edu::725c94ef-d051-42d7-9d33-8572765d592b" providerId="AD" clId="Web-{22D2D811-4E65-4C88-896C-E87684E0524E}" dt="2023-10-27T18:30:50.210" v="42" actId="14100"/>
        <pc:sldMkLst>
          <pc:docMk/>
          <pc:sldMk cId="3419957415" sldId="577"/>
        </pc:sldMkLst>
        <pc:cxnChg chg="mod">
          <ac:chgData name="Eileen Fleming Suse" userId="S::efs3844@ads.northwestern.edu::725c94ef-d051-42d7-9d33-8572765d592b" providerId="AD" clId="Web-{22D2D811-4E65-4C88-896C-E87684E0524E}" dt="2023-10-27T18:30:50.210" v="42" actId="14100"/>
          <ac:cxnSpMkLst>
            <pc:docMk/>
            <pc:sldMk cId="3419957415" sldId="577"/>
            <ac:cxnSpMk id="60" creationId="{0780975F-40AC-4431-7277-8634D267BA1E}"/>
          </ac:cxnSpMkLst>
        </pc:cxnChg>
      </pc:sldChg>
      <pc:sldChg chg="modCm">
        <pc:chgData name="Eileen Fleming Suse" userId="S::efs3844@ads.northwestern.edu::725c94ef-d051-42d7-9d33-8572765d592b" providerId="AD" clId="Web-{22D2D811-4E65-4C88-896C-E87684E0524E}" dt="2023-10-27T17:42:13.365" v="0"/>
        <pc:sldMkLst>
          <pc:docMk/>
          <pc:sldMk cId="1478149357" sldId="598"/>
        </pc:sldMkLst>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22D2D811-4E65-4C88-896C-E87684E0524E}" dt="2023-10-27T17:42:13.365" v="0"/>
              <pc2:cmMkLst xmlns:pc2="http://schemas.microsoft.com/office/powerpoint/2019/9/main/command">
                <pc:docMk/>
                <pc:sldMk cId="1478149357" sldId="598"/>
                <pc2:cmMk id="{137A254D-2737-4985-B0AB-6839DDC46AE0}"/>
              </pc2:cmMkLst>
            </pc226:cmChg>
          </p:ext>
        </pc:extLst>
      </pc:sldChg>
      <pc:sldChg chg="modCm">
        <pc:chgData name="Eileen Fleming Suse" userId="S::efs3844@ads.northwestern.edu::725c94ef-d051-42d7-9d33-8572765d592b" providerId="AD" clId="Web-{22D2D811-4E65-4C88-896C-E87684E0524E}" dt="2023-10-27T17:46:43.921" v="1"/>
        <pc:sldMkLst>
          <pc:docMk/>
          <pc:sldMk cId="3355787309" sldId="604"/>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D2D811-4E65-4C88-896C-E87684E0524E}" dt="2023-10-27T17:46:43.921" v="1"/>
              <pc2:cmMkLst xmlns:pc2="http://schemas.microsoft.com/office/powerpoint/2019/9/main/command">
                <pc:docMk/>
                <pc:sldMk cId="3355787309" sldId="604"/>
                <pc2:cmMk id="{5635E0A6-AC69-4FB6-B7FE-9DA078BBCAEE}"/>
              </pc2:cmMkLst>
              <pc226:cmRplyChg chg="add">
                <pc226:chgData name="Eileen Fleming Suse" userId="S::efs3844@ads.northwestern.edu::725c94ef-d051-42d7-9d33-8572765d592b" providerId="AD" clId="Web-{22D2D811-4E65-4C88-896C-E87684E0524E}" dt="2023-10-27T17:46:43.921" v="1"/>
                <pc2:cmRplyMkLst xmlns:pc2="http://schemas.microsoft.com/office/powerpoint/2019/9/main/command">
                  <pc:docMk/>
                  <pc:sldMk cId="3355787309" sldId="604"/>
                  <pc2:cmMk id="{5635E0A6-AC69-4FB6-B7FE-9DA078BBCAEE}"/>
                  <pc2:cmRplyMk id="{3053D263-C269-4BCE-98DF-ACFFCD7AE076}"/>
                </pc2:cmRplyMkLst>
              </pc226:cmRplyChg>
            </pc226:cmChg>
          </p:ext>
        </pc:extLst>
      </pc:sldChg>
      <pc:sldChg chg="modSp new del">
        <pc:chgData name="Eileen Fleming Suse" userId="S::efs3844@ads.northwestern.edu::725c94ef-d051-42d7-9d33-8572765d592b" providerId="AD" clId="Web-{22D2D811-4E65-4C88-896C-E87684E0524E}" dt="2023-10-27T18:54:20.755" v="180"/>
        <pc:sldMkLst>
          <pc:docMk/>
          <pc:sldMk cId="2702190378" sldId="615"/>
        </pc:sldMkLst>
        <pc:spChg chg="mod">
          <ac:chgData name="Eileen Fleming Suse" userId="S::efs3844@ads.northwestern.edu::725c94ef-d051-42d7-9d33-8572765d592b" providerId="AD" clId="Web-{22D2D811-4E65-4C88-896C-E87684E0524E}" dt="2023-10-27T17:49:36.442" v="12" actId="20577"/>
          <ac:spMkLst>
            <pc:docMk/>
            <pc:sldMk cId="2702190378" sldId="615"/>
            <ac:spMk id="2" creationId="{4F445AD1-E0AF-6269-62AE-B7B0FF43D0CD}"/>
          </ac:spMkLst>
        </pc:spChg>
        <pc:spChg chg="mod">
          <ac:chgData name="Eileen Fleming Suse" userId="S::efs3844@ads.northwestern.edu::725c94ef-d051-42d7-9d33-8572765d592b" providerId="AD" clId="Web-{22D2D811-4E65-4C88-896C-E87684E0524E}" dt="2023-10-27T17:49:58.974" v="18" actId="1076"/>
          <ac:spMkLst>
            <pc:docMk/>
            <pc:sldMk cId="2702190378" sldId="615"/>
            <ac:spMk id="3" creationId="{71F04961-CC8C-E39E-33CE-8C1BD7F5DC38}"/>
          </ac:spMkLst>
        </pc:spChg>
      </pc:sldChg>
      <pc:sldChg chg="add">
        <pc:chgData name="Eileen Fleming Suse" userId="S::efs3844@ads.northwestern.edu::725c94ef-d051-42d7-9d33-8572765d592b" providerId="AD" clId="Web-{22D2D811-4E65-4C88-896C-E87684E0524E}" dt="2023-10-27T18:23:08.497" v="39"/>
        <pc:sldMkLst>
          <pc:docMk/>
          <pc:sldMk cId="3726638559" sldId="616"/>
        </pc:sldMkLst>
      </pc:sldChg>
      <pc:sldChg chg="add replId">
        <pc:chgData name="Eileen Fleming Suse" userId="S::efs3844@ads.northwestern.edu::725c94ef-d051-42d7-9d33-8572765d592b" providerId="AD" clId="Web-{22D2D811-4E65-4C88-896C-E87684E0524E}" dt="2023-10-27T19:03:54.095" v="208"/>
        <pc:sldMkLst>
          <pc:docMk/>
          <pc:sldMk cId="1210022179" sldId="617"/>
        </pc:sldMkLst>
      </pc:sldChg>
      <pc:sldChg chg="add replId">
        <pc:chgData name="Eileen Fleming Suse" userId="S::efs3844@ads.northwestern.edu::725c94ef-d051-42d7-9d33-8572765d592b" providerId="AD" clId="Web-{22D2D811-4E65-4C88-896C-E87684E0524E}" dt="2023-10-27T19:04:00.548" v="209"/>
        <pc:sldMkLst>
          <pc:docMk/>
          <pc:sldMk cId="3431700372" sldId="618"/>
        </pc:sldMkLst>
      </pc:sldChg>
      <pc:sldChg chg="add replId">
        <pc:chgData name="Eileen Fleming Suse" userId="S::efs3844@ads.northwestern.edu::725c94ef-d051-42d7-9d33-8572765d592b" providerId="AD" clId="Web-{22D2D811-4E65-4C88-896C-E87684E0524E}" dt="2023-10-27T19:04:16.017" v="210"/>
        <pc:sldMkLst>
          <pc:docMk/>
          <pc:sldMk cId="923498403" sldId="619"/>
        </pc:sldMkLst>
      </pc:sldChg>
      <pc:sldChg chg="add replId">
        <pc:chgData name="Eileen Fleming Suse" userId="S::efs3844@ads.northwestern.edu::725c94ef-d051-42d7-9d33-8572765d592b" providerId="AD" clId="Web-{22D2D811-4E65-4C88-896C-E87684E0524E}" dt="2023-10-27T19:04:20.345" v="211"/>
        <pc:sldMkLst>
          <pc:docMk/>
          <pc:sldMk cId="3074345071" sldId="620"/>
        </pc:sldMkLst>
      </pc:sldChg>
      <pc:sldChg chg="new del">
        <pc:chgData name="Eileen Fleming Suse" userId="S::efs3844@ads.northwestern.edu::725c94ef-d051-42d7-9d33-8572765d592b" providerId="AD" clId="Web-{22D2D811-4E65-4C88-896C-E87684E0524E}" dt="2023-10-27T19:06:30.676" v="219"/>
        <pc:sldMkLst>
          <pc:docMk/>
          <pc:sldMk cId="2826471173" sldId="621"/>
        </pc:sldMkLst>
      </pc:sldChg>
      <pc:sldChg chg="add replId modNotes">
        <pc:chgData name="Eileen Fleming Suse" userId="S::efs3844@ads.northwestern.edu::725c94ef-d051-42d7-9d33-8572765d592b" providerId="AD" clId="Web-{22D2D811-4E65-4C88-896C-E87684E0524E}" dt="2023-10-27T19:05:58.863" v="218"/>
        <pc:sldMkLst>
          <pc:docMk/>
          <pc:sldMk cId="3850125703" sldId="622"/>
        </pc:sldMkLst>
      </pc:sldChg>
      <pc:sldMasterChg chg="modSldLayout">
        <pc:chgData name="Eileen Fleming Suse" userId="S::efs3844@ads.northwestern.edu::725c94ef-d051-42d7-9d33-8572765d592b" providerId="AD" clId="Web-{22D2D811-4E65-4C88-896C-E87684E0524E}" dt="2023-10-27T18:23:08.497" v="39"/>
        <pc:sldMasterMkLst>
          <pc:docMk/>
          <pc:sldMasterMk cId="3378073280" sldId="2147483756"/>
        </pc:sldMasterMkLst>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2670630771" sldId="214748735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783658486" sldId="214748735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9320368" sldId="214748735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10130633" sldId="214748735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698059872" sldId="214748735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5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5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5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5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5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6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6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6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39295337" sldId="214748736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02549073" sldId="214748736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5532739" sldId="214748736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58542806" sldId="214748736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967421487" sldId="214748736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6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980529727" sldId="2147487369"/>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709868767" sldId="2147487370"/>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98157548" sldId="2147487371"/>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069300124" sldId="2147487372"/>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480140117" sldId="2147487373"/>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59781530" sldId="2147487374"/>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55494103" sldId="2147487375"/>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91337409" sldId="2147487376"/>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075216660" sldId="2147487377"/>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3476272431" sldId="2147487378"/>
          </pc:sldLayoutMkLst>
        </pc:sldLayoutChg>
        <pc:sldLayoutChg chg="replId">
          <pc:chgData name="Eileen Fleming Suse" userId="S::efs3844@ads.northwestern.edu::725c94ef-d051-42d7-9d33-8572765d592b" providerId="AD" clId="Web-{22D2D811-4E65-4C88-896C-E87684E0524E}" dt="2023-10-27T18:23:08.497" v="39"/>
          <pc:sldLayoutMkLst>
            <pc:docMk/>
            <pc:sldMasterMk cId="3378073280" sldId="2147483756"/>
            <pc:sldLayoutMk cId="1803572776" sldId="2147487379"/>
          </pc:sldLayoutMkLst>
        </pc:sldLayoutChg>
      </pc:sldMasterChg>
      <pc:sldMasterChg chg="add addSldLayout">
        <pc:chgData name="Eileen Fleming Suse" userId="S::efs3844@ads.northwestern.edu::725c94ef-d051-42d7-9d33-8572765d592b" providerId="AD" clId="Web-{22D2D811-4E65-4C88-896C-E87684E0524E}" dt="2023-10-27T18:23:08.497" v="39"/>
        <pc:sldMasterMkLst>
          <pc:docMk/>
          <pc:sldMasterMk cId="0" sldId="2147484595"/>
        </pc:sldMasterMkLst>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6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1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4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7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0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384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5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46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7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19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0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5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6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7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8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29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0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1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2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6"/>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8"/>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39"/>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1"/>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2"/>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3"/>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4"/>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5"/>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47"/>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0"/>
          </pc:sldLayoutMkLst>
        </pc:sldLayoutChg>
        <pc:sldLayoutChg chg="add">
          <pc:chgData name="Eileen Fleming Suse" userId="S::efs3844@ads.northwestern.edu::725c94ef-d051-42d7-9d33-8572765d592b" providerId="AD" clId="Web-{22D2D811-4E65-4C88-896C-E87684E0524E}" dt="2023-10-27T18:23:08.497" v="39"/>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6F4BA6F9-4A5A-3B13-85C3-6DB0B61CBC00}"/>
    <pc:docChg chg="addSld delSld modSld sldOrd">
      <pc:chgData name="Isabel Rose Gippo" userId="S::irg9370@ads.northwestern.edu::b10bfe7e-55b9-46dd-9add-2eb52cb66d3b" providerId="AD" clId="Web-{6F4BA6F9-4A5A-3B13-85C3-6DB0B61CBC00}" dt="2023-10-24T15:58:08.213" v="1715" actId="1076"/>
      <pc:docMkLst>
        <pc:docMk/>
      </pc:docMkLst>
      <pc:sldChg chg="addSp delSp modSp add del">
        <pc:chgData name="Isabel Rose Gippo" userId="S::irg9370@ads.northwestern.edu::b10bfe7e-55b9-46dd-9add-2eb52cb66d3b" providerId="AD" clId="Web-{6F4BA6F9-4A5A-3B13-85C3-6DB0B61CBC00}" dt="2023-10-24T15:58:08.213" v="1715" actId="1076"/>
        <pc:sldMkLst>
          <pc:docMk/>
          <pc:sldMk cId="3090389772" sldId="568"/>
        </pc:sldMkLst>
        <pc:spChg chg="mod">
          <ac:chgData name="Isabel Rose Gippo" userId="S::irg9370@ads.northwestern.edu::b10bfe7e-55b9-46dd-9add-2eb52cb66d3b" providerId="AD" clId="Web-{6F4BA6F9-4A5A-3B13-85C3-6DB0B61CBC00}" dt="2023-10-24T15:58:08.213" v="1715" actId="1076"/>
          <ac:spMkLst>
            <pc:docMk/>
            <pc:sldMk cId="3090389772" sldId="568"/>
            <ac:spMk id="11" creationId="{13896302-555C-1A80-C459-6D1ACE663F72}"/>
          </ac:spMkLst>
        </pc:spChg>
        <pc:spChg chg="mod">
          <ac:chgData name="Isabel Rose Gippo" userId="S::irg9370@ads.northwestern.edu::b10bfe7e-55b9-46dd-9add-2eb52cb66d3b" providerId="AD" clId="Web-{6F4BA6F9-4A5A-3B13-85C3-6DB0B61CBC00}" dt="2023-10-24T15:57:58.447" v="1714"/>
          <ac:spMkLst>
            <pc:docMk/>
            <pc:sldMk cId="3090389772" sldId="568"/>
            <ac:spMk id="15" creationId="{CA00A902-9377-5B4A-9651-129D059BB685}"/>
          </ac:spMkLst>
        </pc:spChg>
        <pc:spChg chg="mod">
          <ac:chgData name="Isabel Rose Gippo" userId="S::irg9370@ads.northwestern.edu::b10bfe7e-55b9-46dd-9add-2eb52cb66d3b" providerId="AD" clId="Web-{6F4BA6F9-4A5A-3B13-85C3-6DB0B61CBC00}" dt="2023-10-24T15:56:10.319" v="1694" actId="1076"/>
          <ac:spMkLst>
            <pc:docMk/>
            <pc:sldMk cId="3090389772" sldId="568"/>
            <ac:spMk id="19" creationId="{F49C1F1A-614A-5749-1A3F-78980B65ADBC}"/>
          </ac:spMkLst>
        </pc:spChg>
        <pc:graphicFrameChg chg="add del mod modGraphic">
          <ac:chgData name="Isabel Rose Gippo" userId="S::irg9370@ads.northwestern.edu::b10bfe7e-55b9-46dd-9add-2eb52cb66d3b" providerId="AD" clId="Web-{6F4BA6F9-4A5A-3B13-85C3-6DB0B61CBC00}" dt="2023-10-24T14:31:59.177" v="62"/>
          <ac:graphicFrameMkLst>
            <pc:docMk/>
            <pc:sldMk cId="3090389772" sldId="568"/>
            <ac:graphicFrameMk id="4" creationId="{6A2907FB-67FD-24B1-D91A-81A1E0F2FE3E}"/>
          </ac:graphicFrameMkLst>
        </pc:graphicFrameChg>
        <pc:picChg chg="add del mod">
          <ac:chgData name="Isabel Rose Gippo" userId="S::irg9370@ads.northwestern.edu::b10bfe7e-55b9-46dd-9add-2eb52cb66d3b" providerId="AD" clId="Web-{6F4BA6F9-4A5A-3B13-85C3-6DB0B61CBC00}" dt="2023-10-24T14:35:05.776" v="115"/>
          <ac:picMkLst>
            <pc:docMk/>
            <pc:sldMk cId="3090389772" sldId="568"/>
            <ac:picMk id="2" creationId="{22E3189E-1004-3B9A-952C-B9908ABEC812}"/>
          </ac:picMkLst>
        </pc:picChg>
        <pc:picChg chg="add mod">
          <ac:chgData name="Isabel Rose Gippo" userId="S::irg9370@ads.northwestern.edu::b10bfe7e-55b9-46dd-9add-2eb52cb66d3b" providerId="AD" clId="Web-{6F4BA6F9-4A5A-3B13-85C3-6DB0B61CBC00}" dt="2023-10-24T14:35:18.041" v="119" actId="14100"/>
          <ac:picMkLst>
            <pc:docMk/>
            <pc:sldMk cId="3090389772" sldId="568"/>
            <ac:picMk id="5" creationId="{65C4865E-19D9-EE97-B5E3-CD1D974570D2}"/>
          </ac:picMkLst>
        </pc:picChg>
        <pc:picChg chg="mod">
          <ac:chgData name="Isabel Rose Gippo" userId="S::irg9370@ads.northwestern.edu::b10bfe7e-55b9-46dd-9add-2eb52cb66d3b" providerId="AD" clId="Web-{6F4BA6F9-4A5A-3B13-85C3-6DB0B61CBC00}" dt="2023-10-24T15:56:31.632" v="1698" actId="1076"/>
          <ac:picMkLst>
            <pc:docMk/>
            <pc:sldMk cId="3090389772" sldId="568"/>
            <ac:picMk id="14" creationId="{557B5DD0-CAF3-34F4-E916-20658CE8833E}"/>
          </ac:picMkLst>
        </pc:picChg>
        <pc:picChg chg="del mod">
          <ac:chgData name="Isabel Rose Gippo" userId="S::irg9370@ads.northwestern.edu::b10bfe7e-55b9-46dd-9add-2eb52cb66d3b" providerId="AD" clId="Web-{6F4BA6F9-4A5A-3B13-85C3-6DB0B61CBC00}" dt="2023-10-24T14:32:31.866" v="75"/>
          <ac:picMkLst>
            <pc:docMk/>
            <pc:sldMk cId="3090389772" sldId="568"/>
            <ac:picMk id="21" creationId="{B3F7D84D-D47C-2EE1-3151-7E4DB552539E}"/>
          </ac:picMkLst>
        </pc:picChg>
        <pc:cxnChg chg="add mod">
          <ac:chgData name="Isabel Rose Gippo" userId="S::irg9370@ads.northwestern.edu::b10bfe7e-55b9-46dd-9add-2eb52cb66d3b" providerId="AD" clId="Web-{6F4BA6F9-4A5A-3B13-85C3-6DB0B61CBC00}" dt="2023-10-24T15:57:36.212" v="1709" actId="1076"/>
          <ac:cxnSpMkLst>
            <pc:docMk/>
            <pc:sldMk cId="3090389772" sldId="568"/>
            <ac:cxnSpMk id="6" creationId="{800C1A4B-558C-C3C1-0A73-4639336A0837}"/>
          </ac:cxnSpMkLst>
        </pc:cxnChg>
      </pc:sldChg>
      <pc:sldChg chg="addSp delSp modSp add del">
        <pc:chgData name="Isabel Rose Gippo" userId="S::irg9370@ads.northwestern.edu::b10bfe7e-55b9-46dd-9add-2eb52cb66d3b" providerId="AD" clId="Web-{6F4BA6F9-4A5A-3B13-85C3-6DB0B61CBC00}" dt="2023-10-24T14:58:27.576" v="440" actId="1076"/>
        <pc:sldMkLst>
          <pc:docMk/>
          <pc:sldMk cId="1088329954" sldId="569"/>
        </pc:sldMkLst>
        <pc:spChg chg="add mod">
          <ac:chgData name="Isabel Rose Gippo" userId="S::irg9370@ads.northwestern.edu::b10bfe7e-55b9-46dd-9add-2eb52cb66d3b" providerId="AD" clId="Web-{6F4BA6F9-4A5A-3B13-85C3-6DB0B61CBC00}" dt="2023-10-24T14:39:08.110" v="142"/>
          <ac:spMkLst>
            <pc:docMk/>
            <pc:sldMk cId="1088329954" sldId="569"/>
            <ac:spMk id="6" creationId="{001FEC55-3964-F5A7-7AE0-6E293AC7CBD9}"/>
          </ac:spMkLst>
        </pc:spChg>
        <pc:spChg chg="add mod">
          <ac:chgData name="Isabel Rose Gippo" userId="S::irg9370@ads.northwestern.edu::b10bfe7e-55b9-46dd-9add-2eb52cb66d3b" providerId="AD" clId="Web-{6F4BA6F9-4A5A-3B13-85C3-6DB0B61CBC00}" dt="2023-10-24T14:51:03.987" v="376" actId="1076"/>
          <ac:spMkLst>
            <pc:docMk/>
            <pc:sldMk cId="1088329954" sldId="569"/>
            <ac:spMk id="7" creationId="{EAD90045-A731-42F5-ED3E-D5AE61B97B24}"/>
          </ac:spMkLst>
        </pc:spChg>
        <pc:spChg chg="mod">
          <ac:chgData name="Isabel Rose Gippo" userId="S::irg9370@ads.northwestern.edu::b10bfe7e-55b9-46dd-9add-2eb52cb66d3b" providerId="AD" clId="Web-{6F4BA6F9-4A5A-3B13-85C3-6DB0B61CBC00}" dt="2023-10-24T14:39:06.766" v="139" actId="20577"/>
          <ac:spMkLst>
            <pc:docMk/>
            <pc:sldMk cId="1088329954" sldId="569"/>
            <ac:spMk id="19" creationId="{F49C1F1A-614A-5749-1A3F-78980B65ADBC}"/>
          </ac:spMkLst>
        </pc:spChg>
        <pc:spChg chg="mod">
          <ac:chgData name="Isabel Rose Gippo" userId="S::irg9370@ads.northwestern.edu::b10bfe7e-55b9-46dd-9add-2eb52cb66d3b" providerId="AD" clId="Web-{6F4BA6F9-4A5A-3B13-85C3-6DB0B61CBC00}" dt="2023-10-24T14:58:27.576" v="440" actId="1076"/>
          <ac:spMkLst>
            <pc:docMk/>
            <pc:sldMk cId="1088329954" sldId="569"/>
            <ac:spMk id="16386" creationId="{00000000-0000-0000-0000-000000000000}"/>
          </ac:spMkLst>
        </pc:spChg>
        <pc:graphicFrameChg chg="add del mod modGraphic">
          <ac:chgData name="Isabel Rose Gippo" userId="S::irg9370@ads.northwestern.edu::b10bfe7e-55b9-46dd-9add-2eb52cb66d3b" providerId="AD" clId="Web-{6F4BA6F9-4A5A-3B13-85C3-6DB0B61CBC00}" dt="2023-10-24T14:40:40.096" v="166"/>
          <ac:graphicFrameMkLst>
            <pc:docMk/>
            <pc:sldMk cId="1088329954" sldId="569"/>
            <ac:graphicFrameMk id="5" creationId="{44D1F5E2-36F3-46C2-BDE5-F839C2396742}"/>
          </ac:graphicFrameMkLst>
        </pc:graphicFrameChg>
        <pc:picChg chg="del mod">
          <ac:chgData name="Isabel Rose Gippo" userId="S::irg9370@ads.northwestern.edu::b10bfe7e-55b9-46dd-9add-2eb52cb66d3b" providerId="AD" clId="Web-{6F4BA6F9-4A5A-3B13-85C3-6DB0B61CBC00}" dt="2023-10-24T14:38:43.484" v="137"/>
          <ac:picMkLst>
            <pc:docMk/>
            <pc:sldMk cId="1088329954" sldId="569"/>
            <ac:picMk id="2" creationId="{7088B35E-417D-2903-C144-75276D9E0FF3}"/>
          </ac:picMkLst>
        </pc:picChg>
        <pc:picChg chg="add mod modCrop">
          <ac:chgData name="Isabel Rose Gippo" userId="S::irg9370@ads.northwestern.edu::b10bfe7e-55b9-46dd-9add-2eb52cb66d3b" providerId="AD" clId="Web-{6F4BA6F9-4A5A-3B13-85C3-6DB0B61CBC00}" dt="2023-10-24T14:44:29.852" v="231" actId="1076"/>
          <ac:picMkLst>
            <pc:docMk/>
            <pc:sldMk cId="1088329954" sldId="569"/>
            <ac:picMk id="3" creationId="{787AF34B-E42D-4B43-CB21-2B40E3955DDD}"/>
          </ac:picMkLst>
        </pc:picChg>
      </pc:sldChg>
      <pc:sldChg chg="addSp delSp modSp">
        <pc:chgData name="Isabel Rose Gippo" userId="S::irg9370@ads.northwestern.edu::b10bfe7e-55b9-46dd-9add-2eb52cb66d3b" providerId="AD" clId="Web-{6F4BA6F9-4A5A-3B13-85C3-6DB0B61CBC00}" dt="2023-10-24T15:55:56.382" v="1691" actId="1076"/>
        <pc:sldMkLst>
          <pc:docMk/>
          <pc:sldMk cId="2849312483" sldId="570"/>
        </pc:sldMkLst>
        <pc:spChg chg="mod">
          <ac:chgData name="Isabel Rose Gippo" userId="S::irg9370@ads.northwestern.edu::b10bfe7e-55b9-46dd-9add-2eb52cb66d3b" providerId="AD" clId="Web-{6F4BA6F9-4A5A-3B13-85C3-6DB0B61CBC00}" dt="2023-10-24T15:55:56.382" v="1691" actId="1076"/>
          <ac:spMkLst>
            <pc:docMk/>
            <pc:sldMk cId="2849312483" sldId="570"/>
            <ac:spMk id="4" creationId="{EA09FBC4-EFF6-9AB4-25A1-D6ED252CED0D}"/>
          </ac:spMkLst>
        </pc:spChg>
        <pc:spChg chg="mod">
          <ac:chgData name="Isabel Rose Gippo" userId="S::irg9370@ads.northwestern.edu::b10bfe7e-55b9-46dd-9add-2eb52cb66d3b" providerId="AD" clId="Web-{6F4BA6F9-4A5A-3B13-85C3-6DB0B61CBC00}" dt="2023-10-24T14:46:10.308" v="247" actId="1076"/>
          <ac:spMkLst>
            <pc:docMk/>
            <pc:sldMk cId="2849312483" sldId="570"/>
            <ac:spMk id="5" creationId="{E069BE35-38BF-B866-0B62-A243ACB6F110}"/>
          </ac:spMkLst>
        </pc:spChg>
        <pc:spChg chg="mod">
          <ac:chgData name="Isabel Rose Gippo" userId="S::irg9370@ads.northwestern.edu::b10bfe7e-55b9-46dd-9add-2eb52cb66d3b" providerId="AD" clId="Web-{6F4BA6F9-4A5A-3B13-85C3-6DB0B61CBC00}" dt="2023-10-24T14:45:53.292" v="243" actId="1076"/>
          <ac:spMkLst>
            <pc:docMk/>
            <pc:sldMk cId="2849312483" sldId="570"/>
            <ac:spMk id="6" creationId="{137890F0-FB58-2F7F-C68D-9B504512854C}"/>
          </ac:spMkLst>
        </pc:spChg>
        <pc:spChg chg="mod">
          <ac:chgData name="Isabel Rose Gippo" userId="S::irg9370@ads.northwestern.edu::b10bfe7e-55b9-46dd-9add-2eb52cb66d3b" providerId="AD" clId="Web-{6F4BA6F9-4A5A-3B13-85C3-6DB0B61CBC00}" dt="2023-10-24T14:46:01.714" v="245" actId="1076"/>
          <ac:spMkLst>
            <pc:docMk/>
            <pc:sldMk cId="2849312483" sldId="570"/>
            <ac:spMk id="7" creationId="{1F35585C-3549-CE9C-A34A-3452229F6833}"/>
          </ac:spMkLst>
        </pc:spChg>
        <pc:spChg chg="mod">
          <ac:chgData name="Isabel Rose Gippo" userId="S::irg9370@ads.northwestern.edu::b10bfe7e-55b9-46dd-9add-2eb52cb66d3b" providerId="AD" clId="Web-{6F4BA6F9-4A5A-3B13-85C3-6DB0B61CBC00}" dt="2023-10-24T14:46:07.167" v="246" actId="1076"/>
          <ac:spMkLst>
            <pc:docMk/>
            <pc:sldMk cId="2849312483" sldId="570"/>
            <ac:spMk id="9" creationId="{9BD0DB87-BFB9-248F-9187-16322CEC9C89}"/>
          </ac:spMkLst>
        </pc:spChg>
        <pc:spChg chg="mod">
          <ac:chgData name="Isabel Rose Gippo" userId="S::irg9370@ads.northwestern.edu::b10bfe7e-55b9-46dd-9add-2eb52cb66d3b" providerId="AD" clId="Web-{6F4BA6F9-4A5A-3B13-85C3-6DB0B61CBC00}" dt="2023-10-24T14:46:13.480" v="248" actId="1076"/>
          <ac:spMkLst>
            <pc:docMk/>
            <pc:sldMk cId="2849312483" sldId="570"/>
            <ac:spMk id="10" creationId="{C8307CA0-040F-CDB1-5F4D-16A04C6E74DF}"/>
          </ac:spMkLst>
        </pc:spChg>
        <pc:spChg chg="mod">
          <ac:chgData name="Isabel Rose Gippo" userId="S::irg9370@ads.northwestern.edu::b10bfe7e-55b9-46dd-9add-2eb52cb66d3b" providerId="AD" clId="Web-{6F4BA6F9-4A5A-3B13-85C3-6DB0B61CBC00}" dt="2023-10-24T14:58:32.123" v="441" actId="1076"/>
          <ac:spMkLst>
            <pc:docMk/>
            <pc:sldMk cId="2849312483" sldId="570"/>
            <ac:spMk id="16386" creationId="{00000000-0000-0000-0000-000000000000}"/>
          </ac:spMkLst>
        </pc:spChg>
        <pc:picChg chg="add mod modCrop">
          <ac:chgData name="Isabel Rose Gippo" userId="S::irg9370@ads.northwestern.edu::b10bfe7e-55b9-46dd-9add-2eb52cb66d3b" providerId="AD" clId="Web-{6F4BA6F9-4A5A-3B13-85C3-6DB0B61CBC00}" dt="2023-10-24T14:26:44.169" v="9" actId="1076"/>
          <ac:picMkLst>
            <pc:docMk/>
            <pc:sldMk cId="2849312483" sldId="570"/>
            <ac:picMk id="2" creationId="{D549A1D4-41B1-1D6F-42CB-8A4CB202EBC2}"/>
          </ac:picMkLst>
        </pc:picChg>
        <pc:picChg chg="add mod">
          <ac:chgData name="Isabel Rose Gippo" userId="S::irg9370@ads.northwestern.edu::b10bfe7e-55b9-46dd-9add-2eb52cb66d3b" providerId="AD" clId="Web-{6F4BA6F9-4A5A-3B13-85C3-6DB0B61CBC00}" dt="2023-10-24T14:45:56.854" v="244" actId="1076"/>
          <ac:picMkLst>
            <pc:docMk/>
            <pc:sldMk cId="2849312483" sldId="570"/>
            <ac:picMk id="3" creationId="{4DA2BC9A-416B-F3D1-6F75-394A69766AB0}"/>
          </ac:picMkLst>
        </pc:picChg>
        <pc:picChg chg="del mod">
          <ac:chgData name="Isabel Rose Gippo" userId="S::irg9370@ads.northwestern.edu::b10bfe7e-55b9-46dd-9add-2eb52cb66d3b" providerId="AD" clId="Web-{6F4BA6F9-4A5A-3B13-85C3-6DB0B61CBC00}" dt="2023-10-24T14:45:45.604" v="241"/>
          <ac:picMkLst>
            <pc:docMk/>
            <pc:sldMk cId="2849312483" sldId="570"/>
            <ac:picMk id="8" creationId="{59E0F2EE-E480-541D-E8E7-5C865B35C88F}"/>
          </ac:picMkLst>
        </pc:picChg>
        <pc:picChg chg="del">
          <ac:chgData name="Isabel Rose Gippo" userId="S::irg9370@ads.northwestern.edu::b10bfe7e-55b9-46dd-9add-2eb52cb66d3b" providerId="AD" clId="Web-{6F4BA6F9-4A5A-3B13-85C3-6DB0B61CBC00}" dt="2023-10-24T14:26:18.934" v="4"/>
          <ac:picMkLst>
            <pc:docMk/>
            <pc:sldMk cId="2849312483" sldId="570"/>
            <ac:picMk id="13" creationId="{03BF52CD-31EC-FC46-9A7F-3B257CCAC6A4}"/>
          </ac:picMkLst>
        </pc:picChg>
      </pc:sldChg>
      <pc:sldChg chg="addSp delSp modSp add ord replId">
        <pc:chgData name="Isabel Rose Gippo" userId="S::irg9370@ads.northwestern.edu::b10bfe7e-55b9-46dd-9add-2eb52cb66d3b" providerId="AD" clId="Web-{6F4BA6F9-4A5A-3B13-85C3-6DB0B61CBC00}" dt="2023-10-24T15:15:11.101" v="905" actId="1076"/>
        <pc:sldMkLst>
          <pc:docMk/>
          <pc:sldMk cId="1337825202" sldId="571"/>
        </pc:sldMkLst>
        <pc:spChg chg="add mod">
          <ac:chgData name="Isabel Rose Gippo" userId="S::irg9370@ads.northwestern.edu::b10bfe7e-55b9-46dd-9add-2eb52cb66d3b" providerId="AD" clId="Web-{6F4BA6F9-4A5A-3B13-85C3-6DB0B61CBC00}" dt="2023-10-24T14:58:09.169" v="438" actId="1076"/>
          <ac:spMkLst>
            <pc:docMk/>
            <pc:sldMk cId="1337825202" sldId="571"/>
            <ac:spMk id="4" creationId="{16B24218-AF37-F6C6-7684-E7E3C16AFAF4}"/>
          </ac:spMkLst>
        </pc:spChg>
        <pc:spChg chg="add mod">
          <ac:chgData name="Isabel Rose Gippo" userId="S::irg9370@ads.northwestern.edu::b10bfe7e-55b9-46dd-9add-2eb52cb66d3b" providerId="AD" clId="Web-{6F4BA6F9-4A5A-3B13-85C3-6DB0B61CBC00}" dt="2023-10-24T15:10:52.157" v="734" actId="1076"/>
          <ac:spMkLst>
            <pc:docMk/>
            <pc:sldMk cId="1337825202" sldId="571"/>
            <ac:spMk id="5" creationId="{45477BD9-E066-785E-8D58-760863918D07}"/>
          </ac:spMkLst>
        </pc:spChg>
        <pc:spChg chg="add mod ord">
          <ac:chgData name="Isabel Rose Gippo" userId="S::irg9370@ads.northwestern.edu::b10bfe7e-55b9-46dd-9add-2eb52cb66d3b" providerId="AD" clId="Web-{6F4BA6F9-4A5A-3B13-85C3-6DB0B61CBC00}" dt="2023-10-24T15:12:27.613" v="746" actId="14100"/>
          <ac:spMkLst>
            <pc:docMk/>
            <pc:sldMk cId="1337825202" sldId="571"/>
            <ac:spMk id="7" creationId="{70F70170-82A9-3F58-8A7E-1C8F0DE96C28}"/>
          </ac:spMkLst>
        </pc:spChg>
        <pc:spChg chg="add mod">
          <ac:chgData name="Isabel Rose Gippo" userId="S::irg9370@ads.northwestern.edu::b10bfe7e-55b9-46dd-9add-2eb52cb66d3b" providerId="AD" clId="Web-{6F4BA6F9-4A5A-3B13-85C3-6DB0B61CBC00}" dt="2023-10-24T15:11:07.955" v="736" actId="1076"/>
          <ac:spMkLst>
            <pc:docMk/>
            <pc:sldMk cId="1337825202" sldId="571"/>
            <ac:spMk id="9" creationId="{16E68D9A-C1B6-0901-3EFC-15C208817766}"/>
          </ac:spMkLst>
        </pc:spChg>
        <pc:spChg chg="add mod">
          <ac:chgData name="Isabel Rose Gippo" userId="S::irg9370@ads.northwestern.edu::b10bfe7e-55b9-46dd-9add-2eb52cb66d3b" providerId="AD" clId="Web-{6F4BA6F9-4A5A-3B13-85C3-6DB0B61CBC00}" dt="2023-10-24T15:11:14.377" v="737" actId="1076"/>
          <ac:spMkLst>
            <pc:docMk/>
            <pc:sldMk cId="1337825202" sldId="571"/>
            <ac:spMk id="10" creationId="{25AE8A2F-EC9C-3068-BE56-5960B5C6DCA1}"/>
          </ac:spMkLst>
        </pc:spChg>
        <pc:spChg chg="add mod">
          <ac:chgData name="Isabel Rose Gippo" userId="S::irg9370@ads.northwestern.edu::b10bfe7e-55b9-46dd-9add-2eb52cb66d3b" providerId="AD" clId="Web-{6F4BA6F9-4A5A-3B13-85C3-6DB0B61CBC00}" dt="2023-10-24T15:11:21.221" v="738" actId="1076"/>
          <ac:spMkLst>
            <pc:docMk/>
            <pc:sldMk cId="1337825202" sldId="571"/>
            <ac:spMk id="11" creationId="{F406DC6F-8C94-AF9D-26F8-B81A3F9E5004}"/>
          </ac:spMkLst>
        </pc:spChg>
        <pc:spChg chg="add mod">
          <ac:chgData name="Isabel Rose Gippo" userId="S::irg9370@ads.northwestern.edu::b10bfe7e-55b9-46dd-9add-2eb52cb66d3b" providerId="AD" clId="Web-{6F4BA6F9-4A5A-3B13-85C3-6DB0B61CBC00}" dt="2023-10-24T15:11:37.909" v="741" actId="1076"/>
          <ac:spMkLst>
            <pc:docMk/>
            <pc:sldMk cId="1337825202" sldId="571"/>
            <ac:spMk id="12" creationId="{913F4C80-BE39-2B7C-C4A4-98B839B10F3C}"/>
          </ac:spMkLst>
        </pc:spChg>
        <pc:spChg chg="add mod">
          <ac:chgData name="Isabel Rose Gippo" userId="S::irg9370@ads.northwestern.edu::b10bfe7e-55b9-46dd-9add-2eb52cb66d3b" providerId="AD" clId="Web-{6F4BA6F9-4A5A-3B13-85C3-6DB0B61CBC00}" dt="2023-10-24T15:11:32.768" v="740" actId="1076"/>
          <ac:spMkLst>
            <pc:docMk/>
            <pc:sldMk cId="1337825202" sldId="571"/>
            <ac:spMk id="13" creationId="{CA29CC08-AC6C-D03F-4212-3671B5C0255E}"/>
          </ac:spMkLst>
        </pc:spChg>
        <pc:spChg chg="add mod">
          <ac:chgData name="Isabel Rose Gippo" userId="S::irg9370@ads.northwestern.edu::b10bfe7e-55b9-46dd-9add-2eb52cb66d3b" providerId="AD" clId="Web-{6F4BA6F9-4A5A-3B13-85C3-6DB0B61CBC00}" dt="2023-10-24T15:11:44.581" v="742" actId="1076"/>
          <ac:spMkLst>
            <pc:docMk/>
            <pc:sldMk cId="1337825202" sldId="571"/>
            <ac:spMk id="14" creationId="{56D7802A-D9E3-5022-FEB1-A5E340BE8541}"/>
          </ac:spMkLst>
        </pc:spChg>
        <pc:spChg chg="add mod">
          <ac:chgData name="Isabel Rose Gippo" userId="S::irg9370@ads.northwestern.edu::b10bfe7e-55b9-46dd-9add-2eb52cb66d3b" providerId="AD" clId="Web-{6F4BA6F9-4A5A-3B13-85C3-6DB0B61CBC00}" dt="2023-10-24T15:11:52.956" v="743" actId="1076"/>
          <ac:spMkLst>
            <pc:docMk/>
            <pc:sldMk cId="1337825202" sldId="571"/>
            <ac:spMk id="15" creationId="{33C1CB15-DF62-AAD5-40DF-C348B0B14C79}"/>
          </ac:spMkLst>
        </pc:spChg>
        <pc:spChg chg="add">
          <ac:chgData name="Isabel Rose Gippo" userId="S::irg9370@ads.northwestern.edu::b10bfe7e-55b9-46dd-9add-2eb52cb66d3b" providerId="AD" clId="Web-{6F4BA6F9-4A5A-3B13-85C3-6DB0B61CBC00}" dt="2023-10-24T15:12:40.520" v="747"/>
          <ac:spMkLst>
            <pc:docMk/>
            <pc:sldMk cId="1337825202" sldId="571"/>
            <ac:spMk id="16" creationId="{F313A7DF-7EB6-E236-0B93-A3D3C3E562BC}"/>
          </ac:spMkLst>
        </pc:spChg>
        <pc:spChg chg="add mod">
          <ac:chgData name="Isabel Rose Gippo" userId="S::irg9370@ads.northwestern.edu::b10bfe7e-55b9-46dd-9add-2eb52cb66d3b" providerId="AD" clId="Web-{6F4BA6F9-4A5A-3B13-85C3-6DB0B61CBC00}" dt="2023-10-24T15:15:11.101" v="905" actId="1076"/>
          <ac:spMkLst>
            <pc:docMk/>
            <pc:sldMk cId="1337825202" sldId="571"/>
            <ac:spMk id="17" creationId="{F322531C-B747-9294-091C-9F40532B993A}"/>
          </ac:spMkLst>
        </pc:spChg>
        <pc:spChg chg="mod">
          <ac:chgData name="Isabel Rose Gippo" userId="S::irg9370@ads.northwestern.edu::b10bfe7e-55b9-46dd-9add-2eb52cb66d3b" providerId="AD" clId="Web-{6F4BA6F9-4A5A-3B13-85C3-6DB0B61CBC00}" dt="2023-10-24T14:57:39.325" v="425" actId="1076"/>
          <ac:spMkLst>
            <pc:docMk/>
            <pc:sldMk cId="1337825202" sldId="571"/>
            <ac:spMk id="19" creationId="{F49C1F1A-614A-5749-1A3F-78980B65ADBC}"/>
          </ac:spMkLst>
        </pc:spChg>
        <pc:spChg chg="mod">
          <ac:chgData name="Isabel Rose Gippo" userId="S::irg9370@ads.northwestern.edu::b10bfe7e-55b9-46dd-9add-2eb52cb66d3b" providerId="AD" clId="Web-{6F4BA6F9-4A5A-3B13-85C3-6DB0B61CBC00}" dt="2023-10-24T14:58:21.529" v="439" actId="1076"/>
          <ac:spMkLst>
            <pc:docMk/>
            <pc:sldMk cId="1337825202" sldId="571"/>
            <ac:spMk id="16386" creationId="{00000000-0000-0000-0000-000000000000}"/>
          </ac:spMkLst>
        </pc:spChg>
        <pc:picChg chg="del">
          <ac:chgData name="Isabel Rose Gippo" userId="S::irg9370@ads.northwestern.edu::b10bfe7e-55b9-46dd-9add-2eb52cb66d3b" providerId="AD" clId="Web-{6F4BA6F9-4A5A-3B13-85C3-6DB0B61CBC00}" dt="2023-10-24T14:28:03.140" v="46"/>
          <ac:picMkLst>
            <pc:docMk/>
            <pc:sldMk cId="1337825202" sldId="571"/>
            <ac:picMk id="2" creationId="{7088B35E-417D-2903-C144-75276D9E0FF3}"/>
          </ac:picMkLst>
        </pc:picChg>
        <pc:picChg chg="add mod">
          <ac:chgData name="Isabel Rose Gippo" userId="S::irg9370@ads.northwestern.edu::b10bfe7e-55b9-46dd-9add-2eb52cb66d3b" providerId="AD" clId="Web-{6F4BA6F9-4A5A-3B13-85C3-6DB0B61CBC00}" dt="2023-10-24T14:57:54.528" v="431" actId="14100"/>
          <ac:picMkLst>
            <pc:docMk/>
            <pc:sldMk cId="1337825202" sldId="571"/>
            <ac:picMk id="3" creationId="{295316AB-273C-55D8-0FED-C92B67DB5F3C}"/>
          </ac:picMkLst>
        </pc:picChg>
        <pc:picChg chg="add mod">
          <ac:chgData name="Isabel Rose Gippo" userId="S::irg9370@ads.northwestern.edu::b10bfe7e-55b9-46dd-9add-2eb52cb66d3b" providerId="AD" clId="Web-{6F4BA6F9-4A5A-3B13-85C3-6DB0B61CBC00}" dt="2023-10-24T15:11:02.736" v="735" actId="1076"/>
          <ac:picMkLst>
            <pc:docMk/>
            <pc:sldMk cId="1337825202" sldId="571"/>
            <ac:picMk id="6" creationId="{D2D0700A-FC9B-84DC-6A25-6288ECF7D29A}"/>
          </ac:picMkLst>
        </pc:picChg>
      </pc:sldChg>
      <pc:sldChg chg="modSp add del replId">
        <pc:chgData name="Isabel Rose Gippo" userId="S::irg9370@ads.northwestern.edu::b10bfe7e-55b9-46dd-9add-2eb52cb66d3b" providerId="AD" clId="Web-{6F4BA6F9-4A5A-3B13-85C3-6DB0B61CBC00}" dt="2023-10-24T15:15:28.883" v="910"/>
        <pc:sldMkLst>
          <pc:docMk/>
          <pc:sldMk cId="2676048260" sldId="574"/>
        </pc:sldMkLst>
        <pc:spChg chg="mod">
          <ac:chgData name="Isabel Rose Gippo" userId="S::irg9370@ads.northwestern.edu::b10bfe7e-55b9-46dd-9add-2eb52cb66d3b" providerId="AD" clId="Web-{6F4BA6F9-4A5A-3B13-85C3-6DB0B61CBC00}" dt="2023-10-24T15:09:52.078" v="731" actId="20577"/>
          <ac:spMkLst>
            <pc:docMk/>
            <pc:sldMk cId="2676048260" sldId="574"/>
            <ac:spMk id="5" creationId="{45477BD9-E066-785E-8D58-760863918D07}"/>
          </ac:spMkLst>
        </pc:spChg>
        <pc:spChg chg="mod">
          <ac:chgData name="Isabel Rose Gippo" userId="S::irg9370@ads.northwestern.edu::b10bfe7e-55b9-46dd-9add-2eb52cb66d3b" providerId="AD" clId="Web-{6F4BA6F9-4A5A-3B13-85C3-6DB0B61CBC00}" dt="2023-10-24T15:09:58.547" v="732"/>
          <ac:spMkLst>
            <pc:docMk/>
            <pc:sldMk cId="2676048260" sldId="574"/>
            <ac:spMk id="7" creationId="{70F70170-82A9-3F58-8A7E-1C8F0DE96C28}"/>
          </ac:spMkLst>
        </pc:spChg>
        <pc:spChg chg="mod">
          <ac:chgData name="Isabel Rose Gippo" userId="S::irg9370@ads.northwestern.edu::b10bfe7e-55b9-46dd-9add-2eb52cb66d3b" providerId="AD" clId="Web-{6F4BA6F9-4A5A-3B13-85C3-6DB0B61CBC00}" dt="2023-10-24T15:09:41.171" v="729" actId="20577"/>
          <ac:spMkLst>
            <pc:docMk/>
            <pc:sldMk cId="2676048260" sldId="574"/>
            <ac:spMk id="16386" creationId="{00000000-0000-0000-0000-000000000000}"/>
          </ac:spMkLst>
        </pc:spChg>
      </pc:sldChg>
      <pc:sldChg chg="addSp delSp modSp add del replId">
        <pc:chgData name="Isabel Rose Gippo" userId="S::irg9370@ads.northwestern.edu::b10bfe7e-55b9-46dd-9add-2eb52cb66d3b" providerId="AD" clId="Web-{6F4BA6F9-4A5A-3B13-85C3-6DB0B61CBC00}" dt="2023-10-24T15:55:34.943" v="1689" actId="1076"/>
        <pc:sldMkLst>
          <pc:docMk/>
          <pc:sldMk cId="1568500938" sldId="575"/>
        </pc:sldMkLst>
        <pc:spChg chg="mod">
          <ac:chgData name="Isabel Rose Gippo" userId="S::irg9370@ads.northwestern.edu::b10bfe7e-55b9-46dd-9add-2eb52cb66d3b" providerId="AD" clId="Web-{6F4BA6F9-4A5A-3B13-85C3-6DB0B61CBC00}" dt="2023-10-24T15:22:51.394" v="981" actId="1076"/>
          <ac:spMkLst>
            <pc:docMk/>
            <pc:sldMk cId="1568500938" sldId="575"/>
            <ac:spMk id="4" creationId="{16B24218-AF37-F6C6-7684-E7E3C16AFAF4}"/>
          </ac:spMkLst>
        </pc:spChg>
        <pc:spChg chg="mod">
          <ac:chgData name="Isabel Rose Gippo" userId="S::irg9370@ads.northwestern.edu::b10bfe7e-55b9-46dd-9add-2eb52cb66d3b" providerId="AD" clId="Web-{6F4BA6F9-4A5A-3B13-85C3-6DB0B61CBC00}" dt="2023-10-24T15:15:41.665" v="912" actId="20577"/>
          <ac:spMkLst>
            <pc:docMk/>
            <pc:sldMk cId="1568500938" sldId="575"/>
            <ac:spMk id="5" creationId="{45477BD9-E066-785E-8D58-760863918D07}"/>
          </ac:spMkLst>
        </pc:spChg>
        <pc:spChg chg="mod">
          <ac:chgData name="Isabel Rose Gippo" userId="S::irg9370@ads.northwestern.edu::b10bfe7e-55b9-46dd-9add-2eb52cb66d3b" providerId="AD" clId="Web-{6F4BA6F9-4A5A-3B13-85C3-6DB0B61CBC00}" dt="2023-10-24T15:15:36.930" v="911"/>
          <ac:spMkLst>
            <pc:docMk/>
            <pc:sldMk cId="1568500938" sldId="575"/>
            <ac:spMk id="7" creationId="{70F70170-82A9-3F58-8A7E-1C8F0DE96C28}"/>
          </ac:spMkLst>
        </pc:spChg>
        <pc:spChg chg="mod">
          <ac:chgData name="Isabel Rose Gippo" userId="S::irg9370@ads.northwestern.edu::b10bfe7e-55b9-46dd-9add-2eb52cb66d3b" providerId="AD" clId="Web-{6F4BA6F9-4A5A-3B13-85C3-6DB0B61CBC00}" dt="2023-10-24T15:30:40.812" v="1090" actId="1076"/>
          <ac:spMkLst>
            <pc:docMk/>
            <pc:sldMk cId="1568500938" sldId="575"/>
            <ac:spMk id="9" creationId="{16E68D9A-C1B6-0901-3EFC-15C208817766}"/>
          </ac:spMkLst>
        </pc:spChg>
        <pc:spChg chg="mod">
          <ac:chgData name="Isabel Rose Gippo" userId="S::irg9370@ads.northwestern.edu::b10bfe7e-55b9-46dd-9add-2eb52cb66d3b" providerId="AD" clId="Web-{6F4BA6F9-4A5A-3B13-85C3-6DB0B61CBC00}" dt="2023-10-24T15:30:48.922" v="1091" actId="1076"/>
          <ac:spMkLst>
            <pc:docMk/>
            <pc:sldMk cId="1568500938" sldId="575"/>
            <ac:spMk id="10" creationId="{25AE8A2F-EC9C-3068-BE56-5960B5C6DCA1}"/>
          </ac:spMkLst>
        </pc:spChg>
        <pc:spChg chg="mod">
          <ac:chgData name="Isabel Rose Gippo" userId="S::irg9370@ads.northwestern.edu::b10bfe7e-55b9-46dd-9add-2eb52cb66d3b" providerId="AD" clId="Web-{6F4BA6F9-4A5A-3B13-85C3-6DB0B61CBC00}" dt="2023-10-24T15:30:52.359" v="1092" actId="1076"/>
          <ac:spMkLst>
            <pc:docMk/>
            <pc:sldMk cId="1568500938" sldId="575"/>
            <ac:spMk id="11" creationId="{F406DC6F-8C94-AF9D-26F8-B81A3F9E5004}"/>
          </ac:spMkLst>
        </pc:spChg>
        <pc:spChg chg="mod">
          <ac:chgData name="Isabel Rose Gippo" userId="S::irg9370@ads.northwestern.edu::b10bfe7e-55b9-46dd-9add-2eb52cb66d3b" providerId="AD" clId="Web-{6F4BA6F9-4A5A-3B13-85C3-6DB0B61CBC00}" dt="2023-10-24T15:30:55.109" v="1093" actId="1076"/>
          <ac:spMkLst>
            <pc:docMk/>
            <pc:sldMk cId="1568500938" sldId="575"/>
            <ac:spMk id="12" creationId="{913F4C80-BE39-2B7C-C4A4-98B839B10F3C}"/>
          </ac:spMkLst>
        </pc:spChg>
        <pc:spChg chg="mod">
          <ac:chgData name="Isabel Rose Gippo" userId="S::irg9370@ads.northwestern.edu::b10bfe7e-55b9-46dd-9add-2eb52cb66d3b" providerId="AD" clId="Web-{6F4BA6F9-4A5A-3B13-85C3-6DB0B61CBC00}" dt="2023-10-24T15:30:59.516" v="1094" actId="1076"/>
          <ac:spMkLst>
            <pc:docMk/>
            <pc:sldMk cId="1568500938" sldId="575"/>
            <ac:spMk id="13" creationId="{CA29CC08-AC6C-D03F-4212-3671B5C0255E}"/>
          </ac:spMkLst>
        </pc:spChg>
        <pc:spChg chg="mod">
          <ac:chgData name="Isabel Rose Gippo" userId="S::irg9370@ads.northwestern.edu::b10bfe7e-55b9-46dd-9add-2eb52cb66d3b" providerId="AD" clId="Web-{6F4BA6F9-4A5A-3B13-85C3-6DB0B61CBC00}" dt="2023-10-24T15:31:03.172" v="1095" actId="1076"/>
          <ac:spMkLst>
            <pc:docMk/>
            <pc:sldMk cId="1568500938" sldId="575"/>
            <ac:spMk id="14" creationId="{56D7802A-D9E3-5022-FEB1-A5E340BE8541}"/>
          </ac:spMkLst>
        </pc:spChg>
        <pc:spChg chg="mod">
          <ac:chgData name="Isabel Rose Gippo" userId="S::irg9370@ads.northwestern.edu::b10bfe7e-55b9-46dd-9add-2eb52cb66d3b" providerId="AD" clId="Web-{6F4BA6F9-4A5A-3B13-85C3-6DB0B61CBC00}" dt="2023-10-24T15:31:07.750" v="1096" actId="1076"/>
          <ac:spMkLst>
            <pc:docMk/>
            <pc:sldMk cId="1568500938" sldId="575"/>
            <ac:spMk id="15" creationId="{33C1CB15-DF62-AAD5-40DF-C348B0B14C79}"/>
          </ac:spMkLst>
        </pc:spChg>
        <pc:spChg chg="mod">
          <ac:chgData name="Isabel Rose Gippo" userId="S::irg9370@ads.northwestern.edu::b10bfe7e-55b9-46dd-9add-2eb52cb66d3b" providerId="AD" clId="Web-{6F4BA6F9-4A5A-3B13-85C3-6DB0B61CBC00}" dt="2023-10-24T15:34:03.114" v="1206" actId="20577"/>
          <ac:spMkLst>
            <pc:docMk/>
            <pc:sldMk cId="1568500938" sldId="575"/>
            <ac:spMk id="17" creationId="{F322531C-B747-9294-091C-9F40532B993A}"/>
          </ac:spMkLst>
        </pc:spChg>
        <pc:spChg chg="mod">
          <ac:chgData name="Isabel Rose Gippo" userId="S::irg9370@ads.northwestern.edu::b10bfe7e-55b9-46dd-9add-2eb52cb66d3b" providerId="AD" clId="Web-{6F4BA6F9-4A5A-3B13-85C3-6DB0B61CBC00}" dt="2023-10-24T15:22:48.097" v="980" actId="1076"/>
          <ac:spMkLst>
            <pc:docMk/>
            <pc:sldMk cId="1568500938" sldId="575"/>
            <ac:spMk id="19" creationId="{F49C1F1A-614A-5749-1A3F-78980B65ADBC}"/>
          </ac:spMkLst>
        </pc:spChg>
        <pc:spChg chg="add mod">
          <ac:chgData name="Isabel Rose Gippo" userId="S::irg9370@ads.northwestern.edu::b10bfe7e-55b9-46dd-9add-2eb52cb66d3b" providerId="AD" clId="Web-{6F4BA6F9-4A5A-3B13-85C3-6DB0B61CBC00}" dt="2023-10-24T15:31:11.344" v="1097" actId="1076"/>
          <ac:spMkLst>
            <pc:docMk/>
            <pc:sldMk cId="1568500938" sldId="575"/>
            <ac:spMk id="21" creationId="{16124592-48C8-CBB5-0C67-F7EC7BD3F818}"/>
          </ac:spMkLst>
        </pc:spChg>
        <pc:spChg chg="add del mod">
          <ac:chgData name="Isabel Rose Gippo" userId="S::irg9370@ads.northwestern.edu::b10bfe7e-55b9-46dd-9add-2eb52cb66d3b" providerId="AD" clId="Web-{6F4BA6F9-4A5A-3B13-85C3-6DB0B61CBC00}" dt="2023-10-24T15:31:53.142" v="1125"/>
          <ac:spMkLst>
            <pc:docMk/>
            <pc:sldMk cId="1568500938" sldId="575"/>
            <ac:spMk id="22" creationId="{79C0A09F-BAC0-9497-B649-4AFA9FF44101}"/>
          </ac:spMkLst>
        </pc:spChg>
        <pc:spChg chg="add mod">
          <ac:chgData name="Isabel Rose Gippo" userId="S::irg9370@ads.northwestern.edu::b10bfe7e-55b9-46dd-9add-2eb52cb66d3b" providerId="AD" clId="Web-{6F4BA6F9-4A5A-3B13-85C3-6DB0B61CBC00}" dt="2023-10-24T15:33:52.380" v="1203" actId="1076"/>
          <ac:spMkLst>
            <pc:docMk/>
            <pc:sldMk cId="1568500938" sldId="575"/>
            <ac:spMk id="23" creationId="{242E4660-E8A4-DB53-3AE0-E98317C0C8D3}"/>
          </ac:spMkLst>
        </pc:spChg>
        <pc:spChg chg="mod">
          <ac:chgData name="Isabel Rose Gippo" userId="S::irg9370@ads.northwestern.edu::b10bfe7e-55b9-46dd-9add-2eb52cb66d3b" providerId="AD" clId="Web-{6F4BA6F9-4A5A-3B13-85C3-6DB0B61CBC00}" dt="2023-10-24T15:15:26.242" v="909" actId="20577"/>
          <ac:spMkLst>
            <pc:docMk/>
            <pc:sldMk cId="1568500938" sldId="575"/>
            <ac:spMk id="16386" creationId="{00000000-0000-0000-0000-000000000000}"/>
          </ac:spMkLst>
        </pc:spChg>
        <pc:picChg chg="add del mod">
          <ac:chgData name="Isabel Rose Gippo" userId="S::irg9370@ads.northwestern.edu::b10bfe7e-55b9-46dd-9add-2eb52cb66d3b" providerId="AD" clId="Web-{6F4BA6F9-4A5A-3B13-85C3-6DB0B61CBC00}" dt="2023-10-24T15:18:28.763" v="935"/>
          <ac:picMkLst>
            <pc:docMk/>
            <pc:sldMk cId="1568500938" sldId="575"/>
            <ac:picMk id="2" creationId="{95BB1340-67B2-9A3C-8B7D-1DAD7401068E}"/>
          </ac:picMkLst>
        </pc:picChg>
        <pc:picChg chg="del">
          <ac:chgData name="Isabel Rose Gippo" userId="S::irg9370@ads.northwestern.edu::b10bfe7e-55b9-46dd-9add-2eb52cb66d3b" providerId="AD" clId="Web-{6F4BA6F9-4A5A-3B13-85C3-6DB0B61CBC00}" dt="2023-10-24T15:17:12.761" v="916"/>
          <ac:picMkLst>
            <pc:docMk/>
            <pc:sldMk cId="1568500938" sldId="575"/>
            <ac:picMk id="3" creationId="{295316AB-273C-55D8-0FED-C92B67DB5F3C}"/>
          </ac:picMkLst>
        </pc:picChg>
        <pc:picChg chg="del mod">
          <ac:chgData name="Isabel Rose Gippo" userId="S::irg9370@ads.northwestern.edu::b10bfe7e-55b9-46dd-9add-2eb52cb66d3b" providerId="AD" clId="Web-{6F4BA6F9-4A5A-3B13-85C3-6DB0B61CBC00}" dt="2023-10-24T15:26:38.150" v="986"/>
          <ac:picMkLst>
            <pc:docMk/>
            <pc:sldMk cId="1568500938" sldId="575"/>
            <ac:picMk id="6" creationId="{D2D0700A-FC9B-84DC-6A25-6288ECF7D29A}"/>
          </ac:picMkLst>
        </pc:picChg>
        <pc:picChg chg="add mod">
          <ac:chgData name="Isabel Rose Gippo" userId="S::irg9370@ads.northwestern.edu::b10bfe7e-55b9-46dd-9add-2eb52cb66d3b" providerId="AD" clId="Web-{6F4BA6F9-4A5A-3B13-85C3-6DB0B61CBC00}" dt="2023-10-24T15:55:34.943" v="1689" actId="1076"/>
          <ac:picMkLst>
            <pc:docMk/>
            <pc:sldMk cId="1568500938" sldId="575"/>
            <ac:picMk id="8" creationId="{C4A61916-BC63-F6E7-BBA0-F124F7732FEA}"/>
          </ac:picMkLst>
        </pc:picChg>
        <pc:picChg chg="add del mod">
          <ac:chgData name="Isabel Rose Gippo" userId="S::irg9370@ads.northwestern.edu::b10bfe7e-55b9-46dd-9add-2eb52cb66d3b" providerId="AD" clId="Web-{6F4BA6F9-4A5A-3B13-85C3-6DB0B61CBC00}" dt="2023-10-24T15:27:20.839" v="994"/>
          <ac:picMkLst>
            <pc:docMk/>
            <pc:sldMk cId="1568500938" sldId="575"/>
            <ac:picMk id="18" creationId="{BCD3C2AF-D968-0135-4B4D-CDF4831C9AC7}"/>
          </ac:picMkLst>
        </pc:picChg>
        <pc:picChg chg="add mod">
          <ac:chgData name="Isabel Rose Gippo" userId="S::irg9370@ads.northwestern.edu::b10bfe7e-55b9-46dd-9add-2eb52cb66d3b" providerId="AD" clId="Web-{6F4BA6F9-4A5A-3B13-85C3-6DB0B61CBC00}" dt="2023-10-24T15:30:35.140" v="1089" actId="1076"/>
          <ac:picMkLst>
            <pc:docMk/>
            <pc:sldMk cId="1568500938" sldId="575"/>
            <ac:picMk id="20" creationId="{B6BEFD36-21D1-F003-8218-38BCE13A76CD}"/>
          </ac:picMkLst>
        </pc:picChg>
      </pc:sldChg>
      <pc:sldChg chg="addSp delSp modSp add del replId">
        <pc:chgData name="Isabel Rose Gippo" userId="S::irg9370@ads.northwestern.edu::b10bfe7e-55b9-46dd-9add-2eb52cb66d3b" providerId="AD" clId="Web-{6F4BA6F9-4A5A-3B13-85C3-6DB0B61CBC00}" dt="2023-10-24T15:55:22.521" v="1688"/>
        <pc:sldMkLst>
          <pc:docMk/>
          <pc:sldMk cId="1407824229" sldId="576"/>
        </pc:sldMkLst>
        <pc:spChg chg="add mod ord">
          <ac:chgData name="Isabel Rose Gippo" userId="S::irg9370@ads.northwestern.edu::b10bfe7e-55b9-46dd-9add-2eb52cb66d3b" providerId="AD" clId="Web-{6F4BA6F9-4A5A-3B13-85C3-6DB0B61CBC00}" dt="2023-10-24T15:55:16.099" v="1687"/>
          <ac:spMkLst>
            <pc:docMk/>
            <pc:sldMk cId="1407824229" sldId="576"/>
            <ac:spMk id="3" creationId="{E820A2E4-4F18-6799-9BD9-B308061CC76C}"/>
          </ac:spMkLst>
        </pc:spChg>
        <pc:spChg chg="del">
          <ac:chgData name="Isabel Rose Gippo" userId="S::irg9370@ads.northwestern.edu::b10bfe7e-55b9-46dd-9add-2eb52cb66d3b" providerId="AD" clId="Web-{6F4BA6F9-4A5A-3B13-85C3-6DB0B61CBC00}" dt="2023-10-24T15:38:43.746" v="1261"/>
          <ac:spMkLst>
            <pc:docMk/>
            <pc:sldMk cId="1407824229" sldId="576"/>
            <ac:spMk id="4" creationId="{16B24218-AF37-F6C6-7684-E7E3C16AFAF4}"/>
          </ac:spMkLst>
        </pc:spChg>
        <pc:spChg chg="mod">
          <ac:chgData name="Isabel Rose Gippo" userId="S::irg9370@ads.northwestern.edu::b10bfe7e-55b9-46dd-9add-2eb52cb66d3b" providerId="AD" clId="Web-{6F4BA6F9-4A5A-3B13-85C3-6DB0B61CBC00}" dt="2023-10-24T15:55:00.771" v="1686" actId="1076"/>
          <ac:spMkLst>
            <pc:docMk/>
            <pc:sldMk cId="1407824229" sldId="576"/>
            <ac:spMk id="5" creationId="{45477BD9-E066-785E-8D58-760863918D07}"/>
          </ac:spMkLst>
        </pc:spChg>
        <pc:spChg chg="add mod">
          <ac:chgData name="Isabel Rose Gippo" userId="S::irg9370@ads.northwestern.edu::b10bfe7e-55b9-46dd-9add-2eb52cb66d3b" providerId="AD" clId="Web-{6F4BA6F9-4A5A-3B13-85C3-6DB0B61CBC00}" dt="2023-10-24T15:55:22.521" v="1688"/>
          <ac:spMkLst>
            <pc:docMk/>
            <pc:sldMk cId="1407824229" sldId="576"/>
            <ac:spMk id="6" creationId="{ADFC1F5A-A2FF-8C65-F763-941E2E4DFF8C}"/>
          </ac:spMkLst>
        </pc:spChg>
        <pc:spChg chg="mod">
          <ac:chgData name="Isabel Rose Gippo" userId="S::irg9370@ads.northwestern.edu::b10bfe7e-55b9-46dd-9add-2eb52cb66d3b" providerId="AD" clId="Web-{6F4BA6F9-4A5A-3B13-85C3-6DB0B61CBC00}" dt="2023-10-24T15:46:13.601" v="1454"/>
          <ac:spMkLst>
            <pc:docMk/>
            <pc:sldMk cId="1407824229" sldId="576"/>
            <ac:spMk id="7" creationId="{70F70170-82A9-3F58-8A7E-1C8F0DE96C28}"/>
          </ac:spMkLst>
        </pc:spChg>
        <pc:spChg chg="del">
          <ac:chgData name="Isabel Rose Gippo" userId="S::irg9370@ads.northwestern.edu::b10bfe7e-55b9-46dd-9add-2eb52cb66d3b" providerId="AD" clId="Web-{6F4BA6F9-4A5A-3B13-85C3-6DB0B61CBC00}" dt="2023-10-24T15:48:10.464" v="1469"/>
          <ac:spMkLst>
            <pc:docMk/>
            <pc:sldMk cId="1407824229" sldId="576"/>
            <ac:spMk id="9" creationId="{16E68D9A-C1B6-0901-3EFC-15C208817766}"/>
          </ac:spMkLst>
        </pc:spChg>
        <pc:spChg chg="del">
          <ac:chgData name="Isabel Rose Gippo" userId="S::irg9370@ads.northwestern.edu::b10bfe7e-55b9-46dd-9add-2eb52cb66d3b" providerId="AD" clId="Web-{6F4BA6F9-4A5A-3B13-85C3-6DB0B61CBC00}" dt="2023-10-24T15:48:08.573" v="1468"/>
          <ac:spMkLst>
            <pc:docMk/>
            <pc:sldMk cId="1407824229" sldId="576"/>
            <ac:spMk id="10" creationId="{25AE8A2F-EC9C-3068-BE56-5960B5C6DCA1}"/>
          </ac:spMkLst>
        </pc:spChg>
        <pc:spChg chg="del">
          <ac:chgData name="Isabel Rose Gippo" userId="S::irg9370@ads.northwestern.edu::b10bfe7e-55b9-46dd-9add-2eb52cb66d3b" providerId="AD" clId="Web-{6F4BA6F9-4A5A-3B13-85C3-6DB0B61CBC00}" dt="2023-10-24T15:48:06.448" v="1467"/>
          <ac:spMkLst>
            <pc:docMk/>
            <pc:sldMk cId="1407824229" sldId="576"/>
            <ac:spMk id="11" creationId="{F406DC6F-8C94-AF9D-26F8-B81A3F9E5004}"/>
          </ac:spMkLst>
        </pc:spChg>
        <pc:spChg chg="del">
          <ac:chgData name="Isabel Rose Gippo" userId="S::irg9370@ads.northwestern.edu::b10bfe7e-55b9-46dd-9add-2eb52cb66d3b" providerId="AD" clId="Web-{6F4BA6F9-4A5A-3B13-85C3-6DB0B61CBC00}" dt="2023-10-24T15:48:04.542" v="1466"/>
          <ac:spMkLst>
            <pc:docMk/>
            <pc:sldMk cId="1407824229" sldId="576"/>
            <ac:spMk id="12" creationId="{913F4C80-BE39-2B7C-C4A4-98B839B10F3C}"/>
          </ac:spMkLst>
        </pc:spChg>
        <pc:spChg chg="del">
          <ac:chgData name="Isabel Rose Gippo" userId="S::irg9370@ads.northwestern.edu::b10bfe7e-55b9-46dd-9add-2eb52cb66d3b" providerId="AD" clId="Web-{6F4BA6F9-4A5A-3B13-85C3-6DB0B61CBC00}" dt="2023-10-24T15:48:02.495" v="1465"/>
          <ac:spMkLst>
            <pc:docMk/>
            <pc:sldMk cId="1407824229" sldId="576"/>
            <ac:spMk id="13" creationId="{CA29CC08-AC6C-D03F-4212-3671B5C0255E}"/>
          </ac:spMkLst>
        </pc:spChg>
        <pc:spChg chg="del">
          <ac:chgData name="Isabel Rose Gippo" userId="S::irg9370@ads.northwestern.edu::b10bfe7e-55b9-46dd-9add-2eb52cb66d3b" providerId="AD" clId="Web-{6F4BA6F9-4A5A-3B13-85C3-6DB0B61CBC00}" dt="2023-10-24T15:48:00.666" v="1464"/>
          <ac:spMkLst>
            <pc:docMk/>
            <pc:sldMk cId="1407824229" sldId="576"/>
            <ac:spMk id="14" creationId="{56D7802A-D9E3-5022-FEB1-A5E340BE8541}"/>
          </ac:spMkLst>
        </pc:spChg>
        <pc:spChg chg="del mod">
          <ac:chgData name="Isabel Rose Gippo" userId="S::irg9370@ads.northwestern.edu::b10bfe7e-55b9-46dd-9add-2eb52cb66d3b" providerId="AD" clId="Web-{6F4BA6F9-4A5A-3B13-85C3-6DB0B61CBC00}" dt="2023-10-24T15:47:58.760" v="1463"/>
          <ac:spMkLst>
            <pc:docMk/>
            <pc:sldMk cId="1407824229" sldId="576"/>
            <ac:spMk id="15" creationId="{33C1CB15-DF62-AAD5-40DF-C348B0B14C79}"/>
          </ac:spMkLst>
        </pc:spChg>
        <pc:spChg chg="del">
          <ac:chgData name="Isabel Rose Gippo" userId="S::irg9370@ads.northwestern.edu::b10bfe7e-55b9-46dd-9add-2eb52cb66d3b" providerId="AD" clId="Web-{6F4BA6F9-4A5A-3B13-85C3-6DB0B61CBC00}" dt="2023-10-24T15:45:15.912" v="1419"/>
          <ac:spMkLst>
            <pc:docMk/>
            <pc:sldMk cId="1407824229" sldId="576"/>
            <ac:spMk id="17" creationId="{F322531C-B747-9294-091C-9F40532B993A}"/>
          </ac:spMkLst>
        </pc:spChg>
        <pc:spChg chg="del mod">
          <ac:chgData name="Isabel Rose Gippo" userId="S::irg9370@ads.northwestern.edu::b10bfe7e-55b9-46dd-9add-2eb52cb66d3b" providerId="AD" clId="Web-{6F4BA6F9-4A5A-3B13-85C3-6DB0B61CBC00}" dt="2023-10-24T15:41:24.282" v="1336"/>
          <ac:spMkLst>
            <pc:docMk/>
            <pc:sldMk cId="1407824229" sldId="576"/>
            <ac:spMk id="19" creationId="{F49C1F1A-614A-5749-1A3F-78980B65ADBC}"/>
          </ac:spMkLst>
        </pc:spChg>
        <pc:spChg chg="del">
          <ac:chgData name="Isabel Rose Gippo" userId="S::irg9370@ads.northwestern.edu::b10bfe7e-55b9-46dd-9add-2eb52cb66d3b" providerId="AD" clId="Web-{6F4BA6F9-4A5A-3B13-85C3-6DB0B61CBC00}" dt="2023-10-24T15:47:55.823" v="1461"/>
          <ac:spMkLst>
            <pc:docMk/>
            <pc:sldMk cId="1407824229" sldId="576"/>
            <ac:spMk id="21" creationId="{16124592-48C8-CBB5-0C67-F7EC7BD3F818}"/>
          </ac:spMkLst>
        </pc:spChg>
        <pc:spChg chg="del">
          <ac:chgData name="Isabel Rose Gippo" userId="S::irg9370@ads.northwestern.edu::b10bfe7e-55b9-46dd-9add-2eb52cb66d3b" providerId="AD" clId="Web-{6F4BA6F9-4A5A-3B13-85C3-6DB0B61CBC00}" dt="2023-10-24T15:45:14.084" v="1418"/>
          <ac:spMkLst>
            <pc:docMk/>
            <pc:sldMk cId="1407824229" sldId="576"/>
            <ac:spMk id="23" creationId="{242E4660-E8A4-DB53-3AE0-E98317C0C8D3}"/>
          </ac:spMkLst>
        </pc:spChg>
        <pc:spChg chg="add mod">
          <ac:chgData name="Isabel Rose Gippo" userId="S::irg9370@ads.northwestern.edu::b10bfe7e-55b9-46dd-9add-2eb52cb66d3b" providerId="AD" clId="Web-{6F4BA6F9-4A5A-3B13-85C3-6DB0B61CBC00}" dt="2023-10-24T15:53:56.660" v="1669" actId="1076"/>
          <ac:spMkLst>
            <pc:docMk/>
            <pc:sldMk cId="1407824229" sldId="576"/>
            <ac:spMk id="26" creationId="{4E5DC01A-FD86-C088-08A9-75E4492040D0}"/>
          </ac:spMkLst>
        </pc:spChg>
        <pc:spChg chg="add del mod">
          <ac:chgData name="Isabel Rose Gippo" userId="S::irg9370@ads.northwestern.edu::b10bfe7e-55b9-46dd-9add-2eb52cb66d3b" providerId="AD" clId="Web-{6F4BA6F9-4A5A-3B13-85C3-6DB0B61CBC00}" dt="2023-10-24T15:51:55.454" v="1617"/>
          <ac:spMkLst>
            <pc:docMk/>
            <pc:sldMk cId="1407824229" sldId="576"/>
            <ac:spMk id="28" creationId="{0634AC62-B461-C579-C1E0-59D9F4B72983}"/>
          </ac:spMkLst>
        </pc:spChg>
        <pc:spChg chg="add mod">
          <ac:chgData name="Isabel Rose Gippo" userId="S::irg9370@ads.northwestern.edu::b10bfe7e-55b9-46dd-9add-2eb52cb66d3b" providerId="AD" clId="Web-{6F4BA6F9-4A5A-3B13-85C3-6DB0B61CBC00}" dt="2023-10-24T15:54:00.082" v="1670" actId="1076"/>
          <ac:spMkLst>
            <pc:docMk/>
            <pc:sldMk cId="1407824229" sldId="576"/>
            <ac:spMk id="29" creationId="{74107DB5-E209-4AEF-9800-3DE57E4F629D}"/>
          </ac:spMkLst>
        </pc:spChg>
        <pc:spChg chg="mod">
          <ac:chgData name="Isabel Rose Gippo" userId="S::irg9370@ads.northwestern.edu::b10bfe7e-55b9-46dd-9add-2eb52cb66d3b" providerId="AD" clId="Web-{6F4BA6F9-4A5A-3B13-85C3-6DB0B61CBC00}" dt="2023-10-24T15:44:47.005" v="1398" actId="20577"/>
          <ac:spMkLst>
            <pc:docMk/>
            <pc:sldMk cId="1407824229" sldId="576"/>
            <ac:spMk id="16386" creationId="{00000000-0000-0000-0000-000000000000}"/>
          </ac:spMkLst>
        </pc:spChg>
        <pc:picChg chg="add mod modCrop">
          <ac:chgData name="Isabel Rose Gippo" userId="S::irg9370@ads.northwestern.edu::b10bfe7e-55b9-46dd-9add-2eb52cb66d3b" providerId="AD" clId="Web-{6F4BA6F9-4A5A-3B13-85C3-6DB0B61CBC00}" dt="2023-10-24T15:44:22.270" v="1393" actId="1076"/>
          <ac:picMkLst>
            <pc:docMk/>
            <pc:sldMk cId="1407824229" sldId="576"/>
            <ac:picMk id="2" creationId="{B8AC14FF-4EC0-8575-EDE3-C0FA67908392}"/>
          </ac:picMkLst>
        </pc:picChg>
        <pc:picChg chg="del">
          <ac:chgData name="Isabel Rose Gippo" userId="S::irg9370@ads.northwestern.edu::b10bfe7e-55b9-46dd-9add-2eb52cb66d3b" providerId="AD" clId="Web-{6F4BA6F9-4A5A-3B13-85C3-6DB0B61CBC00}" dt="2023-10-24T15:35:08.131" v="1222"/>
          <ac:picMkLst>
            <pc:docMk/>
            <pc:sldMk cId="1407824229" sldId="576"/>
            <ac:picMk id="8" creationId="{C4A61916-BC63-F6E7-BBA0-F124F7732FEA}"/>
          </ac:picMkLst>
        </pc:picChg>
        <pc:picChg chg="add mod ord">
          <ac:chgData name="Isabel Rose Gippo" userId="S::irg9370@ads.northwestern.edu::b10bfe7e-55b9-46dd-9add-2eb52cb66d3b" providerId="AD" clId="Web-{6F4BA6F9-4A5A-3B13-85C3-6DB0B61CBC00}" dt="2023-10-24T15:44:15.411" v="1391" actId="1076"/>
          <ac:picMkLst>
            <pc:docMk/>
            <pc:sldMk cId="1407824229" sldId="576"/>
            <ac:picMk id="18" creationId="{7B1A0AA1-15B5-44AC-69EE-FA0C3636DDE8}"/>
          </ac:picMkLst>
        </pc:picChg>
        <pc:picChg chg="del">
          <ac:chgData name="Isabel Rose Gippo" userId="S::irg9370@ads.northwestern.edu::b10bfe7e-55b9-46dd-9add-2eb52cb66d3b" providerId="AD" clId="Web-{6F4BA6F9-4A5A-3B13-85C3-6DB0B61CBC00}" dt="2023-10-24T15:45:06.771" v="1415"/>
          <ac:picMkLst>
            <pc:docMk/>
            <pc:sldMk cId="1407824229" sldId="576"/>
            <ac:picMk id="20" creationId="{B6BEFD36-21D1-F003-8218-38BCE13A76CD}"/>
          </ac:picMkLst>
        </pc:picChg>
        <pc:picChg chg="add del mod">
          <ac:chgData name="Isabel Rose Gippo" userId="S::irg9370@ads.northwestern.edu::b10bfe7e-55b9-46dd-9add-2eb52cb66d3b" providerId="AD" clId="Web-{6F4BA6F9-4A5A-3B13-85C3-6DB0B61CBC00}" dt="2023-10-24T15:48:45.918" v="1475"/>
          <ac:picMkLst>
            <pc:docMk/>
            <pc:sldMk cId="1407824229" sldId="576"/>
            <ac:picMk id="22" creationId="{13DD8CE3-1FDC-102F-CBBB-FB401F1872A7}"/>
          </ac:picMkLst>
        </pc:picChg>
        <pc:picChg chg="add mod">
          <ac:chgData name="Isabel Rose Gippo" userId="S::irg9370@ads.northwestern.edu::b10bfe7e-55b9-46dd-9add-2eb52cb66d3b" providerId="AD" clId="Web-{6F4BA6F9-4A5A-3B13-85C3-6DB0B61CBC00}" dt="2023-10-24T15:53:51.160" v="1668" actId="1076"/>
          <ac:picMkLst>
            <pc:docMk/>
            <pc:sldMk cId="1407824229" sldId="576"/>
            <ac:picMk id="24" creationId="{2D6C607A-C2C1-8EE7-6156-28BA1CD6D4EB}"/>
          </ac:picMkLst>
        </pc:picChg>
      </pc:sldChg>
    </pc:docChg>
  </pc:docChgLst>
  <pc:docChgLst>
    <pc:chgData name="Alana Rivera" userId="S::arg3669@ads.northwestern.edu::fc8b707a-b7e9-4f2a-8d71-2d76819b7881" providerId="AD" clId="Web-{64CA3CFC-DFB9-4EB2-185A-94BBCF197F69}"/>
    <pc:docChg chg="addSld modSld sldOrd">
      <pc:chgData name="Alana Rivera" userId="S::arg3669@ads.northwestern.edu::fc8b707a-b7e9-4f2a-8d71-2d76819b7881" providerId="AD" clId="Web-{64CA3CFC-DFB9-4EB2-185A-94BBCF197F69}" dt="2023-10-31T18:53:06.815" v="72"/>
      <pc:docMkLst>
        <pc:docMk/>
      </pc:docMkLst>
      <pc:sldChg chg="ord">
        <pc:chgData name="Alana Rivera" userId="S::arg3669@ads.northwestern.edu::fc8b707a-b7e9-4f2a-8d71-2d76819b7881" providerId="AD" clId="Web-{64CA3CFC-DFB9-4EB2-185A-94BBCF197F69}" dt="2023-10-31T18:53:06.815" v="72"/>
        <pc:sldMkLst>
          <pc:docMk/>
          <pc:sldMk cId="3127921386" sldId="280"/>
        </pc:sldMkLst>
      </pc:sldChg>
      <pc:sldChg chg="modNotes">
        <pc:chgData name="Alana Rivera" userId="S::arg3669@ads.northwestern.edu::fc8b707a-b7e9-4f2a-8d71-2d76819b7881" providerId="AD" clId="Web-{64CA3CFC-DFB9-4EB2-185A-94BBCF197F69}" dt="2023-10-31T18:45:22.517" v="8"/>
        <pc:sldMkLst>
          <pc:docMk/>
          <pc:sldMk cId="3067427377" sldId="560"/>
        </pc:sldMkLst>
      </pc:sldChg>
      <pc:sldChg chg="modSp">
        <pc:chgData name="Alana Rivera" userId="S::arg3669@ads.northwestern.edu::fc8b707a-b7e9-4f2a-8d71-2d76819b7881" providerId="AD" clId="Web-{64CA3CFC-DFB9-4EB2-185A-94BBCF197F69}" dt="2023-10-31T18:43:53.855" v="2"/>
        <pc:sldMkLst>
          <pc:docMk/>
          <pc:sldMk cId="3030449316" sldId="579"/>
        </pc:sldMkLst>
        <pc:spChg chg="mod">
          <ac:chgData name="Alana Rivera" userId="S::arg3669@ads.northwestern.edu::fc8b707a-b7e9-4f2a-8d71-2d76819b7881" providerId="AD" clId="Web-{64CA3CFC-DFB9-4EB2-185A-94BBCF197F69}" dt="2023-10-31T18:43:53.855" v="2"/>
          <ac:spMkLst>
            <pc:docMk/>
            <pc:sldMk cId="3030449316" sldId="579"/>
            <ac:spMk id="44" creationId="{00000000-0000-0000-0000-000000000000}"/>
          </ac:spMkLst>
        </pc:spChg>
        <pc:spChg chg="mod">
          <ac:chgData name="Alana Rivera" userId="S::arg3669@ads.northwestern.edu::fc8b707a-b7e9-4f2a-8d71-2d76819b7881" providerId="AD" clId="Web-{64CA3CFC-DFB9-4EB2-185A-94BBCF197F69}" dt="2023-10-31T18:43:35.901" v="1" actId="1076"/>
          <ac:spMkLst>
            <pc:docMk/>
            <pc:sldMk cId="3030449316" sldId="579"/>
            <ac:spMk id="46" creationId="{00000000-0000-0000-0000-000000000000}"/>
          </ac:spMkLst>
        </pc:spChg>
      </pc:sldChg>
      <pc:sldChg chg="modSp modNotes">
        <pc:chgData name="Alana Rivera" userId="S::arg3669@ads.northwestern.edu::fc8b707a-b7e9-4f2a-8d71-2d76819b7881" providerId="AD" clId="Web-{64CA3CFC-DFB9-4EB2-185A-94BBCF197F69}" dt="2023-10-31T18:44:53.640" v="7"/>
        <pc:sldMkLst>
          <pc:docMk/>
          <pc:sldMk cId="3809547791" sldId="586"/>
        </pc:sldMkLst>
        <pc:spChg chg="mod">
          <ac:chgData name="Alana Rivera" userId="S::arg3669@ads.northwestern.edu::fc8b707a-b7e9-4f2a-8d71-2d76819b7881" providerId="AD" clId="Web-{64CA3CFC-DFB9-4EB2-185A-94BBCF197F69}" dt="2023-10-31T18:44:42.343" v="6" actId="1076"/>
          <ac:spMkLst>
            <pc:docMk/>
            <pc:sldMk cId="3809547791" sldId="586"/>
            <ac:spMk id="39" creationId="{00000000-0000-0000-0000-000000000000}"/>
          </ac:spMkLst>
        </pc:spChg>
        <pc:grpChg chg="mod">
          <ac:chgData name="Alana Rivera" userId="S::arg3669@ads.northwestern.edu::fc8b707a-b7e9-4f2a-8d71-2d76819b7881" providerId="AD" clId="Web-{64CA3CFC-DFB9-4EB2-185A-94BBCF197F69}" dt="2023-10-31T18:44:27.482" v="5" actId="14100"/>
          <ac:grpSpMkLst>
            <pc:docMk/>
            <pc:sldMk cId="3809547791" sldId="586"/>
            <ac:grpSpMk id="20" creationId="{00000000-0000-0000-0000-000000000000}"/>
          </ac:grpSpMkLst>
        </pc:grpChg>
      </pc:sldChg>
      <pc:sldChg chg="modNotes">
        <pc:chgData name="Alana Rivera" userId="S::arg3669@ads.northwestern.edu::fc8b707a-b7e9-4f2a-8d71-2d76819b7881" providerId="AD" clId="Web-{64CA3CFC-DFB9-4EB2-185A-94BBCF197F69}" dt="2023-10-31T18:41:46.987" v="0"/>
        <pc:sldMkLst>
          <pc:docMk/>
          <pc:sldMk cId="629433230" sldId="591"/>
        </pc:sldMkLst>
      </pc:sldChg>
      <pc:sldChg chg="modNotes">
        <pc:chgData name="Alana Rivera" userId="S::arg3669@ads.northwestern.edu::fc8b707a-b7e9-4f2a-8d71-2d76819b7881" providerId="AD" clId="Web-{64CA3CFC-DFB9-4EB2-185A-94BBCF197F69}" dt="2023-10-31T18:46:56.883" v="66"/>
        <pc:sldMkLst>
          <pc:docMk/>
          <pc:sldMk cId="2443892533" sldId="643"/>
        </pc:sldMkLst>
      </pc:sldChg>
      <pc:sldChg chg="ord">
        <pc:chgData name="Alana Rivera" userId="S::arg3669@ads.northwestern.edu::fc8b707a-b7e9-4f2a-8d71-2d76819b7881" providerId="AD" clId="Web-{64CA3CFC-DFB9-4EB2-185A-94BBCF197F69}" dt="2023-10-31T18:52:01.904" v="70"/>
        <pc:sldMkLst>
          <pc:docMk/>
          <pc:sldMk cId="641611787" sldId="648"/>
        </pc:sldMkLst>
      </pc:sldChg>
      <pc:sldChg chg="new ord">
        <pc:chgData name="Alana Rivera" userId="S::arg3669@ads.northwestern.edu::fc8b707a-b7e9-4f2a-8d71-2d76819b7881" providerId="AD" clId="Web-{64CA3CFC-DFB9-4EB2-185A-94BBCF197F69}" dt="2023-10-31T18:49:12.533" v="68"/>
        <pc:sldMkLst>
          <pc:docMk/>
          <pc:sldMk cId="1112761221" sldId="649"/>
        </pc:sldMkLst>
      </pc:sldChg>
    </pc:docChg>
  </pc:docChgLst>
  <pc:docChgLst>
    <pc:chgData name="Alana Rivera" userId="S::arg3669@ads.northwestern.edu::fc8b707a-b7e9-4f2a-8d71-2d76819b7881" providerId="AD" clId="Web-{03F32AA3-4AC6-3C76-F208-A1A7FF160CA9}"/>
    <pc:docChg chg="addSld modSld">
      <pc:chgData name="Alana Rivera" userId="S::arg3669@ads.northwestern.edu::fc8b707a-b7e9-4f2a-8d71-2d76819b7881" providerId="AD" clId="Web-{03F32AA3-4AC6-3C76-F208-A1A7FF160CA9}" dt="2023-12-07T17:53:36.478" v="25" actId="1076"/>
      <pc:docMkLst>
        <pc:docMk/>
      </pc:docMkLst>
      <pc:sldChg chg="modSp delCm modCm">
        <pc:chgData name="Alana Rivera" userId="S::arg3669@ads.northwestern.edu::fc8b707a-b7e9-4f2a-8d71-2d76819b7881" providerId="AD" clId="Web-{03F32AA3-4AC6-3C76-F208-A1A7FF160CA9}" dt="2023-12-07T17:46:46.610" v="2"/>
        <pc:sldMkLst>
          <pc:docMk/>
          <pc:sldMk cId="2801218349" sldId="783"/>
        </pc:sldMkLst>
        <pc:spChg chg="mod">
          <ac:chgData name="Alana Rivera" userId="S::arg3669@ads.northwestern.edu::fc8b707a-b7e9-4f2a-8d71-2d76819b7881" providerId="AD" clId="Web-{03F32AA3-4AC6-3C76-F208-A1A7FF160CA9}" dt="2023-12-07T16:25:47.036" v="1"/>
          <ac:spMkLst>
            <pc:docMk/>
            <pc:sldMk cId="2801218349" sldId="783"/>
            <ac:spMk id="2" creationId="{24126F8B-9BF3-A14A-155A-4BBED8D3A4F2}"/>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03F32AA3-4AC6-3C76-F208-A1A7FF160CA9}" dt="2023-12-07T17:46:46.610" v="2"/>
              <pc2:cmMkLst xmlns:pc2="http://schemas.microsoft.com/office/powerpoint/2019/9/main/command">
                <pc:docMk/>
                <pc:sldMk cId="2801218349" sldId="783"/>
                <pc2:cmMk id="{ADB0B8E2-A4C3-4052-BAEC-D1A509747E16}"/>
              </pc2:cmMkLst>
              <pc226:cmRplyChg chg="add">
                <pc226:chgData name="Alana Rivera" userId="S::arg3669@ads.northwestern.edu::fc8b707a-b7e9-4f2a-8d71-2d76819b7881" providerId="AD" clId="Web-{03F32AA3-4AC6-3C76-F208-A1A7FF160CA9}" dt="2023-12-07T16:25:30.488" v="0"/>
                <pc2:cmRplyMkLst xmlns:pc2="http://schemas.microsoft.com/office/powerpoint/2019/9/main/command">
                  <pc:docMk/>
                  <pc:sldMk cId="2801218349" sldId="783"/>
                  <pc2:cmMk id="{ADB0B8E2-A4C3-4052-BAEC-D1A509747E16}"/>
                  <pc2:cmRplyMk id="{F2FC55E7-04D5-40D8-AA4F-7341315DED91}"/>
                </pc2:cmRplyMkLst>
              </pc226:cmRplyChg>
            </pc226:cmChg>
          </p:ext>
        </pc:extLst>
      </pc:sldChg>
      <pc:sldChg chg="modSp add">
        <pc:chgData name="Alana Rivera" userId="S::arg3669@ads.northwestern.edu::fc8b707a-b7e9-4f2a-8d71-2d76819b7881" providerId="AD" clId="Web-{03F32AA3-4AC6-3C76-F208-A1A7FF160CA9}" dt="2023-12-07T17:53:36.478" v="25" actId="1076"/>
        <pc:sldMkLst>
          <pc:docMk/>
          <pc:sldMk cId="1141815353" sldId="784"/>
        </pc:sldMkLst>
        <pc:spChg chg="mod">
          <ac:chgData name="Alana Rivera" userId="S::arg3669@ads.northwestern.edu::fc8b707a-b7e9-4f2a-8d71-2d76819b7881" providerId="AD" clId="Web-{03F32AA3-4AC6-3C76-F208-A1A7FF160CA9}" dt="2023-12-07T17:53:26.118" v="24" actId="1076"/>
          <ac:spMkLst>
            <pc:docMk/>
            <pc:sldMk cId="1141815353" sldId="784"/>
            <ac:spMk id="2" creationId="{05579FEB-3306-A04E-6516-F16994F3B0F9}"/>
          </ac:spMkLst>
        </pc:spChg>
        <pc:spChg chg="mod">
          <ac:chgData name="Alana Rivera" userId="S::arg3669@ads.northwestern.edu::fc8b707a-b7e9-4f2a-8d71-2d76819b7881" providerId="AD" clId="Web-{03F32AA3-4AC6-3C76-F208-A1A7FF160CA9}" dt="2023-12-07T17:53:36.478" v="25" actId="1076"/>
          <ac:spMkLst>
            <pc:docMk/>
            <pc:sldMk cId="1141815353" sldId="784"/>
            <ac:spMk id="360" creationId="{FE59A3A2-BFF2-9772-51D6-9CCB620AEB53}"/>
          </ac:spMkLst>
        </pc:spChg>
        <pc:graphicFrameChg chg="mod modGraphic">
          <ac:chgData name="Alana Rivera" userId="S::arg3669@ads.northwestern.edu::fc8b707a-b7e9-4f2a-8d71-2d76819b7881" providerId="AD" clId="Web-{03F32AA3-4AC6-3C76-F208-A1A7FF160CA9}" dt="2023-12-07T17:53:17.321" v="23" actId="20577"/>
          <ac:graphicFrameMkLst>
            <pc:docMk/>
            <pc:sldMk cId="1141815353" sldId="784"/>
            <ac:graphicFrameMk id="137" creationId="{61D68665-D38F-2DB1-AAFC-535C715B7F9F}"/>
          </ac:graphicFrameMkLst>
        </pc:graphicFrameChg>
      </pc:sldChg>
    </pc:docChg>
  </pc:docChgLst>
  <pc:docChgLst>
    <pc:chgData name="Eileen Fleming Suse" userId="S::efs3844@ads.northwestern.edu::725c94ef-d051-42d7-9d33-8572765d592b" providerId="AD" clId="Web-{524F6783-CF9C-A7C1-D142-27E8864BC3CB}"/>
    <pc:docChg chg="modSld">
      <pc:chgData name="Eileen Fleming Suse" userId="S::efs3844@ads.northwestern.edu::725c94ef-d051-42d7-9d33-8572765d592b" providerId="AD" clId="Web-{524F6783-CF9C-A7C1-D142-27E8864BC3CB}" dt="2023-10-24T02:49:43.199" v="27" actId="20577"/>
      <pc:docMkLst>
        <pc:docMk/>
      </pc:docMkLst>
      <pc:sldChg chg="modSp">
        <pc:chgData name="Eileen Fleming Suse" userId="S::efs3844@ads.northwestern.edu::725c94ef-d051-42d7-9d33-8572765d592b" providerId="AD" clId="Web-{524F6783-CF9C-A7C1-D142-27E8864BC3CB}" dt="2023-10-24T02:49:43.199" v="27" actId="20577"/>
        <pc:sldMkLst>
          <pc:docMk/>
          <pc:sldMk cId="3845418986" sldId="563"/>
        </pc:sldMkLst>
        <pc:spChg chg="mod">
          <ac:chgData name="Eileen Fleming Suse" userId="S::efs3844@ads.northwestern.edu::725c94ef-d051-42d7-9d33-8572765d592b" providerId="AD" clId="Web-{524F6783-CF9C-A7C1-D142-27E8864BC3CB}" dt="2023-10-24T02:48:50.792" v="5" actId="20577"/>
          <ac:spMkLst>
            <pc:docMk/>
            <pc:sldMk cId="3845418986" sldId="563"/>
            <ac:spMk id="41" creationId="{00000000-0000-0000-0000-000000000000}"/>
          </ac:spMkLst>
        </pc:spChg>
        <pc:spChg chg="mod">
          <ac:chgData name="Eileen Fleming Suse" userId="S::efs3844@ads.northwestern.edu::725c94ef-d051-42d7-9d33-8572765d592b" providerId="AD" clId="Web-{524F6783-CF9C-A7C1-D142-27E8864BC3CB}" dt="2023-10-24T02:49:18.886" v="17" actId="14100"/>
          <ac:spMkLst>
            <pc:docMk/>
            <pc:sldMk cId="3845418986" sldId="563"/>
            <ac:spMk id="43" creationId="{00000000-0000-0000-0000-000000000000}"/>
          </ac:spMkLst>
        </pc:spChg>
        <pc:spChg chg="mod">
          <ac:chgData name="Eileen Fleming Suse" userId="S::efs3844@ads.northwestern.edu::725c94ef-d051-42d7-9d33-8572765d592b" providerId="AD" clId="Web-{524F6783-CF9C-A7C1-D142-27E8864BC3CB}" dt="2023-10-24T02:49:43.199" v="27" actId="20577"/>
          <ac:spMkLst>
            <pc:docMk/>
            <pc:sldMk cId="3845418986" sldId="563"/>
            <ac:spMk id="45" creationId="{00000000-0000-0000-0000-000000000000}"/>
          </ac:spMkLst>
        </pc:spChg>
      </pc:sldChg>
      <pc:sldChg chg="modSp">
        <pc:chgData name="Eileen Fleming Suse" userId="S::efs3844@ads.northwestern.edu::725c94ef-d051-42d7-9d33-8572765d592b" providerId="AD" clId="Web-{524F6783-CF9C-A7C1-D142-27E8864BC3CB}" dt="2023-10-24T02:48:43.932" v="2" actId="1076"/>
        <pc:sldMkLst>
          <pc:docMk/>
          <pc:sldMk cId="3004937174" sldId="565"/>
        </pc:sldMkLst>
        <pc:spChg chg="mod">
          <ac:chgData name="Eileen Fleming Suse" userId="S::efs3844@ads.northwestern.edu::725c94ef-d051-42d7-9d33-8572765d592b" providerId="AD" clId="Web-{524F6783-CF9C-A7C1-D142-27E8864BC3CB}" dt="2023-10-24T02:48:35.166" v="1" actId="1076"/>
          <ac:spMkLst>
            <pc:docMk/>
            <pc:sldMk cId="3004937174" sldId="565"/>
            <ac:spMk id="32" creationId="{00000000-0000-0000-0000-000000000000}"/>
          </ac:spMkLst>
        </pc:spChg>
        <pc:spChg chg="mod">
          <ac:chgData name="Eileen Fleming Suse" userId="S::efs3844@ads.northwestern.edu::725c94ef-d051-42d7-9d33-8572765d592b" providerId="AD" clId="Web-{524F6783-CF9C-A7C1-D142-27E8864BC3CB}" dt="2023-10-24T02:48:43.932" v="2" actId="1076"/>
          <ac:spMkLst>
            <pc:docMk/>
            <pc:sldMk cId="3004937174" sldId="565"/>
            <ac:spMk id="38" creationId="{00000000-0000-0000-0000-000000000000}"/>
          </ac:spMkLst>
        </pc:spChg>
      </pc:sldChg>
    </pc:docChg>
  </pc:docChgLst>
  <pc:docChgLst>
    <pc:chgData name="Alana Rivera" userId="S::arg3669@ads.northwestern.edu::fc8b707a-b7e9-4f2a-8d71-2d76819b7881" providerId="AD" clId="Web-{36AFF060-5319-E6D5-0957-513AFAA6A2E5}"/>
    <pc:docChg chg="mod addSld delSld modSld sldOrd">
      <pc:chgData name="Alana Rivera" userId="S::arg3669@ads.northwestern.edu::fc8b707a-b7e9-4f2a-8d71-2d76819b7881" providerId="AD" clId="Web-{36AFF060-5319-E6D5-0957-513AFAA6A2E5}" dt="2023-10-24T18:55:19.461" v="40"/>
      <pc:docMkLst>
        <pc:docMk/>
      </pc:docMkLst>
      <pc:sldChg chg="ord addCm">
        <pc:chgData name="Alana Rivera" userId="S::arg3669@ads.northwestern.edu::fc8b707a-b7e9-4f2a-8d71-2d76819b7881" providerId="AD" clId="Web-{36AFF060-5319-E6D5-0957-513AFAA6A2E5}" dt="2023-10-24T18:05:32.641" v="17"/>
        <pc:sldMkLst>
          <pc:docMk/>
          <pc:sldMk cId="2564870475" sldId="566"/>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36AFF060-5319-E6D5-0957-513AFAA6A2E5}" dt="2023-10-24T18:05:32.641" v="17"/>
              <pc2:cmMkLst xmlns:pc2="http://schemas.microsoft.com/office/powerpoint/2019/9/main/command">
                <pc:docMk/>
                <pc:sldMk cId="2564870475" sldId="566"/>
                <pc2:cmMk id="{2E54611F-EF9E-406A-A7DB-E8AA469FE59F}"/>
              </pc2:cmMkLst>
            </pc226:cmChg>
          </p:ext>
        </pc:extLst>
      </pc:sldChg>
      <pc:sldChg chg="del">
        <pc:chgData name="Alana Rivera" userId="S::arg3669@ads.northwestern.edu::fc8b707a-b7e9-4f2a-8d71-2d76819b7881" providerId="AD" clId="Web-{36AFF060-5319-E6D5-0957-513AFAA6A2E5}" dt="2023-10-24T18:03:49.482" v="3"/>
        <pc:sldMkLst>
          <pc:docMk/>
          <pc:sldMk cId="310672773" sldId="567"/>
        </pc:sldMkLst>
      </pc:sldChg>
      <pc:sldChg chg="addSp modSp add">
        <pc:chgData name="Alana Rivera" userId="S::arg3669@ads.northwestern.edu::fc8b707a-b7e9-4f2a-8d71-2d76819b7881" providerId="AD" clId="Web-{36AFF060-5319-E6D5-0957-513AFAA6A2E5}" dt="2023-10-24T18:55:19.461" v="40"/>
        <pc:sldMkLst>
          <pc:docMk/>
          <pc:sldMk cId="3419957415" sldId="577"/>
        </pc:sldMkLst>
        <pc:spChg chg="mod">
          <ac:chgData name="Alana Rivera" userId="S::arg3669@ads.northwestern.edu::fc8b707a-b7e9-4f2a-8d71-2d76819b7881" providerId="AD" clId="Web-{36AFF060-5319-E6D5-0957-513AFAA6A2E5}" dt="2023-10-24T18:54:56.960" v="39"/>
          <ac:spMkLst>
            <pc:docMk/>
            <pc:sldMk cId="3419957415" sldId="577"/>
            <ac:spMk id="55" creationId="{00000000-0000-0000-0000-000000000000}"/>
          </ac:spMkLst>
        </pc:spChg>
        <pc:spChg chg="mod">
          <ac:chgData name="Alana Rivera" userId="S::arg3669@ads.northwestern.edu::fc8b707a-b7e9-4f2a-8d71-2d76819b7881" providerId="AD" clId="Web-{36AFF060-5319-E6D5-0957-513AFAA6A2E5}" dt="2023-10-24T18:55:19.461" v="40"/>
          <ac:spMkLst>
            <pc:docMk/>
            <pc:sldMk cId="3419957415" sldId="577"/>
            <ac:spMk id="56" creationId="{00000000-0000-0000-0000-000000000000}"/>
          </ac:spMkLst>
        </pc:spChg>
        <pc:cxnChg chg="add mod">
          <ac:chgData name="Alana Rivera" userId="S::arg3669@ads.northwestern.edu::fc8b707a-b7e9-4f2a-8d71-2d76819b7881" providerId="AD" clId="Web-{36AFF060-5319-E6D5-0957-513AFAA6A2E5}" dt="2023-10-24T18:10:45.023" v="19" actId="14100"/>
          <ac:cxnSpMkLst>
            <pc:docMk/>
            <pc:sldMk cId="3419957415" sldId="577"/>
            <ac:cxnSpMk id="58" creationId="{7FE085C4-0A4D-D525-BEFC-A58C8B262908}"/>
          </ac:cxnSpMkLst>
        </pc:cxnChg>
        <pc:cxnChg chg="add mod">
          <ac:chgData name="Alana Rivera" userId="S::arg3669@ads.northwestern.edu::fc8b707a-b7e9-4f2a-8d71-2d76819b7881" providerId="AD" clId="Web-{36AFF060-5319-E6D5-0957-513AFAA6A2E5}" dt="2023-10-24T18:04:56.671" v="15" actId="1076"/>
          <ac:cxnSpMkLst>
            <pc:docMk/>
            <pc:sldMk cId="3419957415" sldId="577"/>
            <ac:cxnSpMk id="59" creationId="{4AB05664-6AAD-B37F-B42B-F3BE57FF4B64}"/>
          </ac:cxnSpMkLst>
        </pc:cxnChg>
        <pc:cxnChg chg="add mod">
          <ac:chgData name="Alana Rivera" userId="S::arg3669@ads.northwestern.edu::fc8b707a-b7e9-4f2a-8d71-2d76819b7881" providerId="AD" clId="Web-{36AFF060-5319-E6D5-0957-513AFAA6A2E5}" dt="2023-10-24T18:14:32.903" v="33" actId="14100"/>
          <ac:cxnSpMkLst>
            <pc:docMk/>
            <pc:sldMk cId="3419957415" sldId="577"/>
            <ac:cxnSpMk id="60" creationId="{0780975F-40AC-4431-7277-8634D267BA1E}"/>
          </ac:cxnSpMkLst>
        </pc:cxnChg>
        <pc:cxnChg chg="add mod">
          <ac:chgData name="Alana Rivera" userId="S::arg3669@ads.northwestern.edu::fc8b707a-b7e9-4f2a-8d71-2d76819b7881" providerId="AD" clId="Web-{36AFF060-5319-E6D5-0957-513AFAA6A2E5}" dt="2023-10-24T18:11:24.914" v="25" actId="14100"/>
          <ac:cxnSpMkLst>
            <pc:docMk/>
            <pc:sldMk cId="3419957415" sldId="577"/>
            <ac:cxnSpMk id="61" creationId="{E6E294E1-60D1-93D5-F703-4C8CA9125137}"/>
          </ac:cxnSpMkLst>
        </pc:cxnChg>
        <pc:cxnChg chg="add mod">
          <ac:chgData name="Alana Rivera" userId="S::arg3669@ads.northwestern.edu::fc8b707a-b7e9-4f2a-8d71-2d76819b7881" providerId="AD" clId="Web-{36AFF060-5319-E6D5-0957-513AFAA6A2E5}" dt="2023-10-24T18:12:06.525" v="31" actId="14100"/>
          <ac:cxnSpMkLst>
            <pc:docMk/>
            <pc:sldMk cId="3419957415" sldId="577"/>
            <ac:cxnSpMk id="62" creationId="{533F86FB-67E8-46C0-0C13-6B8ABD7D4C87}"/>
          </ac:cxnSpMkLst>
        </pc:cxnChg>
      </pc:sldChg>
    </pc:docChg>
  </pc:docChgLst>
  <pc:docChgLst>
    <pc:chgData name="Isabel Rose Gippo" userId="S::irg9370@ads.northwestern.edu::b10bfe7e-55b9-46dd-9add-2eb52cb66d3b" providerId="AD" clId="Web-{782B053E-75E5-959C-8BAD-C5B3CB312E1F}"/>
    <pc:docChg chg="addSld delSld modSld sldOrd">
      <pc:chgData name="Isabel Rose Gippo" userId="S::irg9370@ads.northwestern.edu::b10bfe7e-55b9-46dd-9add-2eb52cb66d3b" providerId="AD" clId="Web-{782B053E-75E5-959C-8BAD-C5B3CB312E1F}" dt="2023-10-27T17:32:56.380" v="8"/>
      <pc:docMkLst>
        <pc:docMk/>
      </pc:docMkLst>
      <pc:sldChg chg="del">
        <pc:chgData name="Isabel Rose Gippo" userId="S::irg9370@ads.northwestern.edu::b10bfe7e-55b9-46dd-9add-2eb52cb66d3b" providerId="AD" clId="Web-{782B053E-75E5-959C-8BAD-C5B3CB312E1F}" dt="2023-10-27T17:32:56.380" v="8"/>
        <pc:sldMkLst>
          <pc:docMk/>
          <pc:sldMk cId="81318788" sldId="597"/>
        </pc:sldMkLst>
      </pc:sldChg>
      <pc:sldChg chg="new del">
        <pc:chgData name="Isabel Rose Gippo" userId="S::irg9370@ads.northwestern.edu::b10bfe7e-55b9-46dd-9add-2eb52cb66d3b" providerId="AD" clId="Web-{782B053E-75E5-959C-8BAD-C5B3CB312E1F}" dt="2023-10-27T15:59:59.727" v="2"/>
        <pc:sldMkLst>
          <pc:docMk/>
          <pc:sldMk cId="1436311312" sldId="598"/>
        </pc:sldMkLst>
      </pc:sldChg>
      <pc:sldChg chg="del">
        <pc:chgData name="Isabel Rose Gippo" userId="S::irg9370@ads.northwestern.edu::b10bfe7e-55b9-46dd-9add-2eb52cb66d3b" providerId="AD" clId="Web-{782B053E-75E5-959C-8BAD-C5B3CB312E1F}" dt="2023-10-27T15:59:36.867" v="0"/>
        <pc:sldMkLst>
          <pc:docMk/>
          <pc:sldMk cId="1569232529" sldId="598"/>
        </pc:sldMkLst>
      </pc:sldChg>
      <pc:sldChg chg="delSp new del ord">
        <pc:chgData name="Isabel Rose Gippo" userId="S::irg9370@ads.northwestern.edu::b10bfe7e-55b9-46dd-9add-2eb52cb66d3b" providerId="AD" clId="Web-{782B053E-75E5-959C-8BAD-C5B3CB312E1F}" dt="2023-10-27T17:32:45.256" v="7"/>
        <pc:sldMkLst>
          <pc:docMk/>
          <pc:sldMk cId="1930759565" sldId="598"/>
        </pc:sldMkLst>
        <pc:spChg chg="del">
          <ac:chgData name="Isabel Rose Gippo" userId="S::irg9370@ads.northwestern.edu::b10bfe7e-55b9-46dd-9add-2eb52cb66d3b" providerId="AD" clId="Web-{782B053E-75E5-959C-8BAD-C5B3CB312E1F}" dt="2023-10-27T16:00:24.525" v="4"/>
          <ac:spMkLst>
            <pc:docMk/>
            <pc:sldMk cId="1930759565" sldId="598"/>
            <ac:spMk id="2" creationId="{ABF36D30-BDF6-6FEC-3FE6-37A1A717E4A8}"/>
          </ac:spMkLst>
        </pc:spChg>
        <pc:spChg chg="del">
          <ac:chgData name="Isabel Rose Gippo" userId="S::irg9370@ads.northwestern.edu::b10bfe7e-55b9-46dd-9add-2eb52cb66d3b" providerId="AD" clId="Web-{782B053E-75E5-959C-8BAD-C5B3CB312E1F}" dt="2023-10-27T16:00:26.244" v="5"/>
          <ac:spMkLst>
            <pc:docMk/>
            <pc:sldMk cId="1930759565" sldId="598"/>
            <ac:spMk id="3" creationId="{31C83F74-E170-8C1C-B7A5-F83D8496A049}"/>
          </ac:spMkLst>
        </pc:spChg>
      </pc:sldChg>
    </pc:docChg>
  </pc:docChgLst>
  <pc:docChgLst>
    <pc:chgData name="Alana Rivera" userId="S::arg3669@ads.northwestern.edu::fc8b707a-b7e9-4f2a-8d71-2d76819b7881" providerId="AD" clId="Web-{C486D7C7-B4C7-7F28-6F17-619AAEE18350}"/>
    <pc:docChg chg="delSld modSld">
      <pc:chgData name="Alana Rivera" userId="S::arg3669@ads.northwestern.edu::fc8b707a-b7e9-4f2a-8d71-2d76819b7881" providerId="AD" clId="Web-{C486D7C7-B4C7-7F28-6F17-619AAEE18350}" dt="2023-12-05T19:16:13.985" v="23"/>
      <pc:docMkLst>
        <pc:docMk/>
      </pc:docMkLst>
      <pc:sldChg chg="modSp">
        <pc:chgData name="Alana Rivera" userId="S::arg3669@ads.northwestern.edu::fc8b707a-b7e9-4f2a-8d71-2d76819b7881" providerId="AD" clId="Web-{C486D7C7-B4C7-7F28-6F17-619AAEE18350}" dt="2023-12-05T19:09:22.555" v="15" actId="20577"/>
        <pc:sldMkLst>
          <pc:docMk/>
          <pc:sldMk cId="3127921386" sldId="280"/>
        </pc:sldMkLst>
        <pc:spChg chg="mod">
          <ac:chgData name="Alana Rivera" userId="S::arg3669@ads.northwestern.edu::fc8b707a-b7e9-4f2a-8d71-2d76819b7881" providerId="AD" clId="Web-{C486D7C7-B4C7-7F28-6F17-619AAEE18350}" dt="2023-12-05T19:08:54.991" v="4" actId="20577"/>
          <ac:spMkLst>
            <pc:docMk/>
            <pc:sldMk cId="3127921386" sldId="280"/>
            <ac:spMk id="3" creationId="{1D742501-F937-8041-84E5-748F96AE991B}"/>
          </ac:spMkLst>
        </pc:spChg>
        <pc:spChg chg="mod">
          <ac:chgData name="Alana Rivera" userId="S::arg3669@ads.northwestern.edu::fc8b707a-b7e9-4f2a-8d71-2d76819b7881" providerId="AD" clId="Web-{C486D7C7-B4C7-7F28-6F17-619AAEE18350}" dt="2023-12-05T19:09:22.555" v="15" actId="20577"/>
          <ac:spMkLst>
            <pc:docMk/>
            <pc:sldMk cId="3127921386" sldId="280"/>
            <ac:spMk id="9" creationId="{7F20A429-9947-F447-2DF2-A5C17B5C6EC1}"/>
          </ac:spMkLst>
        </pc:spChg>
      </pc:sldChg>
      <pc:sldChg chg="modSp">
        <pc:chgData name="Alana Rivera" userId="S::arg3669@ads.northwestern.edu::fc8b707a-b7e9-4f2a-8d71-2d76819b7881" providerId="AD" clId="Web-{C486D7C7-B4C7-7F28-6F17-619AAEE18350}" dt="2023-12-05T19:15:28.968" v="20" actId="20577"/>
        <pc:sldMkLst>
          <pc:docMk/>
          <pc:sldMk cId="4044691067" sldId="283"/>
        </pc:sldMkLst>
        <pc:spChg chg="mod">
          <ac:chgData name="Alana Rivera" userId="S::arg3669@ads.northwestern.edu::fc8b707a-b7e9-4f2a-8d71-2d76819b7881" providerId="AD" clId="Web-{C486D7C7-B4C7-7F28-6F17-619AAEE18350}" dt="2023-12-05T19:09:34.602" v="16" actId="20577"/>
          <ac:spMkLst>
            <pc:docMk/>
            <pc:sldMk cId="4044691067" sldId="283"/>
            <ac:spMk id="16386" creationId="{00000000-0000-0000-0000-000000000000}"/>
          </ac:spMkLst>
        </pc:spChg>
        <pc:spChg chg="mod">
          <ac:chgData name="Alana Rivera" userId="S::arg3669@ads.northwestern.edu::fc8b707a-b7e9-4f2a-8d71-2d76819b7881" providerId="AD" clId="Web-{C486D7C7-B4C7-7F28-6F17-619AAEE18350}" dt="2023-12-05T19:15:28.968" v="20" actId="20577"/>
          <ac:spMkLst>
            <pc:docMk/>
            <pc:sldMk cId="4044691067" sldId="283"/>
            <ac:spMk id="16387" creationId="{00000000-0000-0000-0000-000000000000}"/>
          </ac:spMkLst>
        </pc:spChg>
      </pc:sldChg>
      <pc:sldChg chg="del">
        <pc:chgData name="Alana Rivera" userId="S::arg3669@ads.northwestern.edu::fc8b707a-b7e9-4f2a-8d71-2d76819b7881" providerId="AD" clId="Web-{C486D7C7-B4C7-7F28-6F17-619AAEE18350}" dt="2023-12-05T19:16:00.250" v="22"/>
        <pc:sldMkLst>
          <pc:docMk/>
          <pc:sldMk cId="3080095507" sldId="703"/>
        </pc:sldMkLst>
      </pc:sldChg>
      <pc:sldChg chg="del">
        <pc:chgData name="Alana Rivera" userId="S::arg3669@ads.northwestern.edu::fc8b707a-b7e9-4f2a-8d71-2d76819b7881" providerId="AD" clId="Web-{C486D7C7-B4C7-7F28-6F17-619AAEE18350}" dt="2023-12-05T19:15:45.469" v="21"/>
        <pc:sldMkLst>
          <pc:docMk/>
          <pc:sldMk cId="4091814342" sldId="715"/>
        </pc:sldMkLst>
      </pc:sldChg>
      <pc:sldChg chg="del">
        <pc:chgData name="Alana Rivera" userId="S::arg3669@ads.northwestern.edu::fc8b707a-b7e9-4f2a-8d71-2d76819b7881" providerId="AD" clId="Web-{C486D7C7-B4C7-7F28-6F17-619AAEE18350}" dt="2023-12-05T19:16:13.985" v="23"/>
        <pc:sldMkLst>
          <pc:docMk/>
          <pc:sldMk cId="3241722567" sldId="740"/>
        </pc:sldMkLst>
      </pc:sldChg>
    </pc:docChg>
  </pc:docChgLst>
  <pc:docChgLst>
    <pc:chgData name="Eileen Fleming Suse" userId="S::efs3844@ads.northwestern.edu::725c94ef-d051-42d7-9d33-8572765d592b" providerId="AD" clId="Web-{11980D98-74D1-71E7-E86A-19E64303BD27}"/>
    <pc:docChg chg="modSld sldOrd">
      <pc:chgData name="Eileen Fleming Suse" userId="S::efs3844@ads.northwestern.edu::725c94ef-d051-42d7-9d33-8572765d592b" providerId="AD" clId="Web-{11980D98-74D1-71E7-E86A-19E64303BD27}" dt="2023-10-30T16:12:53.918" v="90" actId="1076"/>
      <pc:docMkLst>
        <pc:docMk/>
      </pc:docMkLst>
      <pc:sldChg chg="delSp modSp">
        <pc:chgData name="Eileen Fleming Suse" userId="S::efs3844@ads.northwestern.edu::725c94ef-d051-42d7-9d33-8572765d592b" providerId="AD" clId="Web-{11980D98-74D1-71E7-E86A-19E64303BD27}" dt="2023-10-30T15:54:09.163" v="65" actId="1076"/>
        <pc:sldMkLst>
          <pc:docMk/>
          <pc:sldMk cId="3472964082" sldId="550"/>
        </pc:sldMkLst>
        <pc:spChg chg="mod">
          <ac:chgData name="Eileen Fleming Suse" userId="S::efs3844@ads.northwestern.edu::725c94ef-d051-42d7-9d33-8572765d592b" providerId="AD" clId="Web-{11980D98-74D1-71E7-E86A-19E64303BD27}" dt="2023-10-30T15:52:44.895" v="41" actId="20577"/>
          <ac:spMkLst>
            <pc:docMk/>
            <pc:sldMk cId="3472964082" sldId="550"/>
            <ac:spMk id="20" creationId="{00000000-0000-0000-0000-000000000000}"/>
          </ac:spMkLst>
        </pc:spChg>
        <pc:spChg chg="mod">
          <ac:chgData name="Eileen Fleming Suse" userId="S::efs3844@ads.northwestern.edu::725c94ef-d051-42d7-9d33-8572765d592b" providerId="AD" clId="Web-{11980D98-74D1-71E7-E86A-19E64303BD27}" dt="2023-10-30T15:54:09.163" v="65" actId="1076"/>
          <ac:spMkLst>
            <pc:docMk/>
            <pc:sldMk cId="3472964082" sldId="550"/>
            <ac:spMk id="23" creationId="{00000000-0000-0000-0000-000000000000}"/>
          </ac:spMkLst>
        </pc:spChg>
        <pc:spChg chg="mod">
          <ac:chgData name="Eileen Fleming Suse" userId="S::efs3844@ads.northwestern.edu::725c94ef-d051-42d7-9d33-8572765d592b" providerId="AD" clId="Web-{11980D98-74D1-71E7-E86A-19E64303BD27}" dt="2023-10-30T15:53:06.724" v="46"/>
          <ac:spMkLst>
            <pc:docMk/>
            <pc:sldMk cId="3472964082" sldId="550"/>
            <ac:spMk id="31" creationId="{00000000-0000-0000-0000-000000000000}"/>
          </ac:spMkLst>
        </pc:spChg>
        <pc:spChg chg="del">
          <ac:chgData name="Eileen Fleming Suse" userId="S::efs3844@ads.northwestern.edu::725c94ef-d051-42d7-9d33-8572765d592b" providerId="AD" clId="Web-{11980D98-74D1-71E7-E86A-19E64303BD27}" dt="2023-10-30T15:50:43.361" v="19"/>
          <ac:spMkLst>
            <pc:docMk/>
            <pc:sldMk cId="3472964082" sldId="550"/>
            <ac:spMk id="32" creationId="{00000000-0000-0000-0000-000000000000}"/>
          </ac:spMkLst>
        </pc:spChg>
        <pc:spChg chg="mod">
          <ac:chgData name="Eileen Fleming Suse" userId="S::efs3844@ads.northwestern.edu::725c94ef-d051-42d7-9d33-8572765d592b" providerId="AD" clId="Web-{11980D98-74D1-71E7-E86A-19E64303BD27}" dt="2023-10-30T15:53:06.084" v="42" actId="1076"/>
          <ac:spMkLst>
            <pc:docMk/>
            <pc:sldMk cId="3472964082" sldId="550"/>
            <ac:spMk id="51" creationId="{00000000-0000-0000-0000-000000000000}"/>
          </ac:spMkLst>
        </pc:spChg>
        <pc:spChg chg="mod">
          <ac:chgData name="Eileen Fleming Suse" userId="S::efs3844@ads.northwestern.edu::725c94ef-d051-42d7-9d33-8572765d592b" providerId="AD" clId="Web-{11980D98-74D1-71E7-E86A-19E64303BD27}" dt="2023-10-30T15:54:07.460" v="64" actId="1076"/>
          <ac:spMkLst>
            <pc:docMk/>
            <pc:sldMk cId="3472964082" sldId="550"/>
            <ac:spMk id="53" creationId="{00000000-0000-0000-0000-000000000000}"/>
          </ac:spMkLst>
        </pc:spChg>
        <pc:grpChg chg="mod">
          <ac:chgData name="Eileen Fleming Suse" userId="S::efs3844@ads.northwestern.edu::725c94ef-d051-42d7-9d33-8572765d592b" providerId="AD" clId="Web-{11980D98-74D1-71E7-E86A-19E64303BD27}" dt="2023-10-30T15:53:09.115" v="47" actId="1076"/>
          <ac:grpSpMkLst>
            <pc:docMk/>
            <pc:sldMk cId="3472964082" sldId="550"/>
            <ac:grpSpMk id="55" creationId="{00000000-0000-0000-0000-000000000000}"/>
          </ac:grpSpMkLst>
        </pc:grpChg>
      </pc:sldChg>
      <pc:sldChg chg="modSp ord">
        <pc:chgData name="Eileen Fleming Suse" userId="S::efs3844@ads.northwestern.edu::725c94ef-d051-42d7-9d33-8572765d592b" providerId="AD" clId="Web-{11980D98-74D1-71E7-E86A-19E64303BD27}" dt="2023-10-30T15:55:23.587" v="88" actId="14100"/>
        <pc:sldMkLst>
          <pc:docMk/>
          <pc:sldMk cId="2562283095" sldId="551"/>
        </pc:sldMkLst>
        <pc:spChg chg="mod">
          <ac:chgData name="Eileen Fleming Suse" userId="S::efs3844@ads.northwestern.edu::725c94ef-d051-42d7-9d33-8572765d592b" providerId="AD" clId="Web-{11980D98-74D1-71E7-E86A-19E64303BD27}" dt="2023-10-30T15:54:18.289" v="66" actId="20577"/>
          <ac:spMkLst>
            <pc:docMk/>
            <pc:sldMk cId="2562283095" sldId="551"/>
            <ac:spMk id="20" creationId="{00000000-0000-0000-0000-000000000000}"/>
          </ac:spMkLst>
        </pc:spChg>
        <pc:spChg chg="mod">
          <ac:chgData name="Eileen Fleming Suse" userId="S::efs3844@ads.northwestern.edu::725c94ef-d051-42d7-9d33-8572765d592b" providerId="AD" clId="Web-{11980D98-74D1-71E7-E86A-19E64303BD27}" dt="2023-10-30T15:54:40.430" v="72" actId="20577"/>
          <ac:spMkLst>
            <pc:docMk/>
            <pc:sldMk cId="2562283095" sldId="551"/>
            <ac:spMk id="23" creationId="{00000000-0000-0000-0000-000000000000}"/>
          </ac:spMkLst>
        </pc:spChg>
        <pc:spChg chg="mod">
          <ac:chgData name="Eileen Fleming Suse" userId="S::efs3844@ads.northwestern.edu::725c94ef-d051-42d7-9d33-8572765d592b" providerId="AD" clId="Web-{11980D98-74D1-71E7-E86A-19E64303BD27}" dt="2023-10-30T15:55:23.587" v="88" actId="14100"/>
          <ac:spMkLst>
            <pc:docMk/>
            <pc:sldMk cId="2562283095" sldId="551"/>
            <ac:spMk id="31" creationId="{00000000-0000-0000-0000-000000000000}"/>
          </ac:spMkLst>
        </pc:spChg>
        <pc:spChg chg="mod">
          <ac:chgData name="Eileen Fleming Suse" userId="S::efs3844@ads.northwestern.edu::725c94ef-d051-42d7-9d33-8572765d592b" providerId="AD" clId="Web-{11980D98-74D1-71E7-E86A-19E64303BD27}" dt="2023-10-30T15:54:28.242" v="69" actId="1076"/>
          <ac:spMkLst>
            <pc:docMk/>
            <pc:sldMk cId="2562283095" sldId="551"/>
            <ac:spMk id="51" creationId="{00000000-0000-0000-0000-000000000000}"/>
          </ac:spMkLst>
        </pc:spChg>
        <pc:spChg chg="mod">
          <ac:chgData name="Eileen Fleming Suse" userId="S::efs3844@ads.northwestern.edu::725c94ef-d051-42d7-9d33-8572765d592b" providerId="AD" clId="Web-{11980D98-74D1-71E7-E86A-19E64303BD27}" dt="2023-10-30T15:55:07.384" v="82"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11980D98-74D1-71E7-E86A-19E64303BD27}" dt="2023-10-30T16:12:53.918" v="90" actId="1076"/>
        <pc:sldMkLst>
          <pc:docMk/>
          <pc:sldMk cId="1141815353" sldId="562"/>
        </pc:sldMkLst>
        <pc:spChg chg="mod">
          <ac:chgData name="Eileen Fleming Suse" userId="S::efs3844@ads.northwestern.edu::725c94ef-d051-42d7-9d33-8572765d592b" providerId="AD" clId="Web-{11980D98-74D1-71E7-E86A-19E64303BD27}" dt="2023-10-30T16:12:53.918" v="90" actId="1076"/>
          <ac:spMkLst>
            <pc:docMk/>
            <pc:sldMk cId="1141815353" sldId="562"/>
            <ac:spMk id="13" creationId="{2FC08365-C48A-7DB8-BBA6-D9EB552FFD55}"/>
          </ac:spMkLst>
        </pc:spChg>
        <pc:graphicFrameChg chg="mod">
          <ac:chgData name="Eileen Fleming Suse" userId="S::efs3844@ads.northwestern.edu::725c94ef-d051-42d7-9d33-8572765d592b" providerId="AD" clId="Web-{11980D98-74D1-71E7-E86A-19E64303BD27}" dt="2023-10-30T16:12:27.854" v="89" actId="1076"/>
          <ac:graphicFrameMkLst>
            <pc:docMk/>
            <pc:sldMk cId="1141815353" sldId="562"/>
            <ac:graphicFrameMk id="137" creationId="{61D68665-D38F-2DB1-AAFC-535C715B7F9F}"/>
          </ac:graphicFrameMkLst>
        </pc:graphicFrameChg>
      </pc:sldChg>
    </pc:docChg>
  </pc:docChgLst>
  <pc:docChgLst>
    <pc:chgData name="Eileen Fleming Suse" userId="S::efs3844@ads.northwestern.edu::725c94ef-d051-42d7-9d33-8572765d592b" providerId="AD" clId="Web-{C93D31B3-2B8C-DAAF-7090-3A2197BCB065}"/>
    <pc:docChg chg="addSld delSld modSld sldOrd">
      <pc:chgData name="Eileen Fleming Suse" userId="S::efs3844@ads.northwestern.edu::725c94ef-d051-42d7-9d33-8572765d592b" providerId="AD" clId="Web-{C93D31B3-2B8C-DAAF-7090-3A2197BCB065}" dt="2023-10-27T21:32:15.542" v="226"/>
      <pc:docMkLst>
        <pc:docMk/>
      </pc:docMkLst>
      <pc:sldChg chg="delCm">
        <pc:chgData name="Eileen Fleming Suse" userId="S::efs3844@ads.northwestern.edu::725c94ef-d051-42d7-9d33-8572765d592b" providerId="AD" clId="Web-{C93D31B3-2B8C-DAAF-7090-3A2197BCB065}" dt="2023-10-27T20:38:25.630" v="101"/>
        <pc:sldMkLst>
          <pc:docMk/>
          <pc:sldMk cId="2351229145" sldId="54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0:38:25.630" v="101"/>
              <pc2:cmMkLst xmlns:pc2="http://schemas.microsoft.com/office/powerpoint/2019/9/main/command">
                <pc:docMk/>
                <pc:sldMk cId="2351229145" sldId="544"/>
                <pc2:cmMk id="{94040B62-D001-43B9-8FD0-0A8B0C9B684C}"/>
              </pc2:cmMkLst>
            </pc226:cmChg>
          </p:ext>
        </pc:extLst>
      </pc:sldChg>
      <pc:sldChg chg="modSp">
        <pc:chgData name="Eileen Fleming Suse" userId="S::efs3844@ads.northwestern.edu::725c94ef-d051-42d7-9d33-8572765d592b" providerId="AD" clId="Web-{C93D31B3-2B8C-DAAF-7090-3A2197BCB065}" dt="2023-10-27T20:37:55.739" v="100" actId="20577"/>
        <pc:sldMkLst>
          <pc:docMk/>
          <pc:sldMk cId="1141815353" sldId="562"/>
        </pc:sldMkLst>
        <pc:spChg chg="mod">
          <ac:chgData name="Eileen Fleming Suse" userId="S::efs3844@ads.northwestern.edu::725c94ef-d051-42d7-9d33-8572765d592b" providerId="AD" clId="Web-{C93D31B3-2B8C-DAAF-7090-3A2197BCB065}" dt="2023-10-27T20:37:55.739" v="100" actId="20577"/>
          <ac:spMkLst>
            <pc:docMk/>
            <pc:sldMk cId="1141815353" sldId="562"/>
            <ac:spMk id="2" creationId="{05579FEB-3306-A04E-6516-F16994F3B0F9}"/>
          </ac:spMkLst>
        </pc:spChg>
        <pc:spChg chg="mod">
          <ac:chgData name="Eileen Fleming Suse" userId="S::efs3844@ads.northwestern.edu::725c94ef-d051-42d7-9d33-8572765d592b" providerId="AD" clId="Web-{C93D31B3-2B8C-DAAF-7090-3A2197BCB065}" dt="2023-10-27T20:37:49.195" v="99"/>
          <ac:spMkLst>
            <pc:docMk/>
            <pc:sldMk cId="1141815353" sldId="562"/>
            <ac:spMk id="360" creationId="{FE59A3A2-BFF2-9772-51D6-9CCB620AEB53}"/>
          </ac:spMkLst>
        </pc:spChg>
        <pc:graphicFrameChg chg="modGraphic">
          <ac:chgData name="Eileen Fleming Suse" userId="S::efs3844@ads.northwestern.edu::725c94ef-d051-42d7-9d33-8572765d592b" providerId="AD" clId="Web-{C93D31B3-2B8C-DAAF-7090-3A2197BCB065}" dt="2023-10-27T20:37:40.614" v="96" actId="20577"/>
          <ac:graphicFrameMkLst>
            <pc:docMk/>
            <pc:sldMk cId="1141815353" sldId="562"/>
            <ac:graphicFrameMk id="137" creationId="{61D68665-D38F-2DB1-AAFC-535C715B7F9F}"/>
          </ac:graphicFrameMkLst>
        </pc:graphicFrameChg>
      </pc:sldChg>
      <pc:sldChg chg="addAnim">
        <pc:chgData name="Eileen Fleming Suse" userId="S::efs3844@ads.northwestern.edu::725c94ef-d051-42d7-9d33-8572765d592b" providerId="AD" clId="Web-{C93D31B3-2B8C-DAAF-7090-3A2197BCB065}" dt="2023-10-27T20:34:45.141" v="77"/>
        <pc:sldMkLst>
          <pc:docMk/>
          <pc:sldMk cId="3845418986" sldId="563"/>
        </pc:sldMkLst>
      </pc:sldChg>
      <pc:sldChg chg="addAnim delAnim modAnim">
        <pc:chgData name="Eileen Fleming Suse" userId="S::efs3844@ads.northwestern.edu::725c94ef-d051-42d7-9d33-8572765d592b" providerId="AD" clId="Web-{C93D31B3-2B8C-DAAF-7090-3A2197BCB065}" dt="2023-10-27T20:34:35.282" v="76"/>
        <pc:sldMkLst>
          <pc:docMk/>
          <pc:sldMk cId="1536434647" sldId="564"/>
        </pc:sldMkLst>
      </pc:sldChg>
      <pc:sldChg chg="delSp">
        <pc:chgData name="Eileen Fleming Suse" userId="S::efs3844@ads.northwestern.edu::725c94ef-d051-42d7-9d33-8572765d592b" providerId="AD" clId="Web-{C93D31B3-2B8C-DAAF-7090-3A2197BCB065}" dt="2023-10-27T20:25:58.630" v="11"/>
        <pc:sldMkLst>
          <pc:docMk/>
          <pc:sldMk cId="3870927286" sldId="583"/>
        </pc:sldMkLst>
        <pc:spChg chg="del">
          <ac:chgData name="Eileen Fleming Suse" userId="S::efs3844@ads.northwestern.edu::725c94ef-d051-42d7-9d33-8572765d592b" providerId="AD" clId="Web-{C93D31B3-2B8C-DAAF-7090-3A2197BCB065}" dt="2023-10-27T20:25:58.630" v="8"/>
          <ac:spMkLst>
            <pc:docMk/>
            <pc:sldMk cId="3870927286" sldId="583"/>
            <ac:spMk id="48" creationId="{00000000-0000-0000-0000-000000000000}"/>
          </ac:spMkLst>
        </pc:spChg>
        <pc:spChg chg="del">
          <ac:chgData name="Eileen Fleming Suse" userId="S::efs3844@ads.northwestern.edu::725c94ef-d051-42d7-9d33-8572765d592b" providerId="AD" clId="Web-{C93D31B3-2B8C-DAAF-7090-3A2197BCB065}" dt="2023-10-27T20:25:58.630" v="7"/>
          <ac:spMkLst>
            <pc:docMk/>
            <pc:sldMk cId="3870927286" sldId="583"/>
            <ac:spMk id="49" creationId="{00000000-0000-0000-0000-000000000000}"/>
          </ac:spMkLst>
        </pc:spChg>
        <pc:spChg chg="del">
          <ac:chgData name="Eileen Fleming Suse" userId="S::efs3844@ads.northwestern.edu::725c94ef-d051-42d7-9d33-8572765d592b" providerId="AD" clId="Web-{C93D31B3-2B8C-DAAF-7090-3A2197BCB065}" dt="2023-10-27T20:25:58.630" v="6"/>
          <ac:spMkLst>
            <pc:docMk/>
            <pc:sldMk cId="3870927286" sldId="583"/>
            <ac:spMk id="50" creationId="{00000000-0000-0000-0000-000000000000}"/>
          </ac:spMkLst>
        </pc:spChg>
        <pc:grpChg chg="del">
          <ac:chgData name="Eileen Fleming Suse" userId="S::efs3844@ads.northwestern.edu::725c94ef-d051-42d7-9d33-8572765d592b" providerId="AD" clId="Web-{C93D31B3-2B8C-DAAF-7090-3A2197BCB065}" dt="2023-10-27T20:25:58.630" v="11"/>
          <ac:grpSpMkLst>
            <pc:docMk/>
            <pc:sldMk cId="3870927286" sldId="583"/>
            <ac:grpSpMk id="18" creationId="{00000000-0000-0000-0000-000000000000}"/>
          </ac:grpSpMkLst>
        </pc:grpChg>
        <pc:grpChg chg="del">
          <ac:chgData name="Eileen Fleming Suse" userId="S::efs3844@ads.northwestern.edu::725c94ef-d051-42d7-9d33-8572765d592b" providerId="AD" clId="Web-{C93D31B3-2B8C-DAAF-7090-3A2197BCB065}" dt="2023-10-27T20:25:58.630" v="10"/>
          <ac:grpSpMkLst>
            <pc:docMk/>
            <pc:sldMk cId="3870927286" sldId="583"/>
            <ac:grpSpMk id="42" creationId="{00000000-0000-0000-0000-000000000000}"/>
          </ac:grpSpMkLst>
        </pc:grpChg>
        <pc:grpChg chg="del">
          <ac:chgData name="Eileen Fleming Suse" userId="S::efs3844@ads.northwestern.edu::725c94ef-d051-42d7-9d33-8572765d592b" providerId="AD" clId="Web-{C93D31B3-2B8C-DAAF-7090-3A2197BCB065}" dt="2023-10-27T20:25:58.630" v="9"/>
          <ac:grpSpMkLst>
            <pc:docMk/>
            <pc:sldMk cId="3870927286" sldId="583"/>
            <ac:grpSpMk id="45" creationId="{00000000-0000-0000-0000-000000000000}"/>
          </ac:grpSpMkLst>
        </pc:grpChg>
      </pc:sldChg>
      <pc:sldChg chg="addAnim">
        <pc:chgData name="Eileen Fleming Suse" userId="S::efs3844@ads.northwestern.edu::725c94ef-d051-42d7-9d33-8572765d592b" providerId="AD" clId="Web-{C93D31B3-2B8C-DAAF-7090-3A2197BCB065}" dt="2023-10-27T20:36:02.424" v="82"/>
        <pc:sldMkLst>
          <pc:docMk/>
          <pc:sldMk cId="3561966490" sldId="585"/>
        </pc:sldMkLst>
      </pc:sldChg>
      <pc:sldChg chg="addAnim">
        <pc:chgData name="Eileen Fleming Suse" userId="S::efs3844@ads.northwestern.edu::725c94ef-d051-42d7-9d33-8572765d592b" providerId="AD" clId="Web-{C93D31B3-2B8C-DAAF-7090-3A2197BCB065}" dt="2023-10-27T20:35:43.361" v="81"/>
        <pc:sldMkLst>
          <pc:docMk/>
          <pc:sldMk cId="3809547791" sldId="586"/>
        </pc:sldMkLst>
      </pc:sldChg>
      <pc:sldChg chg="addAnim">
        <pc:chgData name="Eileen Fleming Suse" userId="S::efs3844@ads.northwestern.edu::725c94ef-d051-42d7-9d33-8572765d592b" providerId="AD" clId="Web-{C93D31B3-2B8C-DAAF-7090-3A2197BCB065}" dt="2023-10-27T20:35:34.392" v="80"/>
        <pc:sldMkLst>
          <pc:docMk/>
          <pc:sldMk cId="1598854783" sldId="587"/>
        </pc:sldMkLst>
      </pc:sldChg>
      <pc:sldChg chg="addAnim">
        <pc:chgData name="Eileen Fleming Suse" userId="S::efs3844@ads.northwestern.edu::725c94ef-d051-42d7-9d33-8572765d592b" providerId="AD" clId="Web-{C93D31B3-2B8C-DAAF-7090-3A2197BCB065}" dt="2023-10-27T20:35:16.720" v="79"/>
        <pc:sldMkLst>
          <pc:docMk/>
          <pc:sldMk cId="3832963388" sldId="588"/>
        </pc:sldMkLst>
      </pc:sldChg>
      <pc:sldChg chg="addAnim">
        <pc:chgData name="Eileen Fleming Suse" userId="S::efs3844@ads.northwestern.edu::725c94ef-d051-42d7-9d33-8572765d592b" providerId="AD" clId="Web-{C93D31B3-2B8C-DAAF-7090-3A2197BCB065}" dt="2023-10-27T20:35:00.423" v="78"/>
        <pc:sldMkLst>
          <pc:docMk/>
          <pc:sldMk cId="629433230" sldId="591"/>
        </pc:sldMkLst>
      </pc:sldChg>
      <pc:sldChg chg="modNotes">
        <pc:chgData name="Eileen Fleming Suse" userId="S::efs3844@ads.northwestern.edu::725c94ef-d051-42d7-9d33-8572765d592b" providerId="AD" clId="Web-{C93D31B3-2B8C-DAAF-7090-3A2197BCB065}" dt="2023-10-27T20:51:02.849" v="104"/>
        <pc:sldMkLst>
          <pc:docMk/>
          <pc:sldMk cId="2470795492" sldId="599"/>
        </pc:sldMkLst>
      </pc:sldChg>
      <pc:sldChg chg="addSp delSp modSp modCm">
        <pc:chgData name="Eileen Fleming Suse" userId="S::efs3844@ads.northwestern.edu::725c94ef-d051-42d7-9d33-8572765d592b" providerId="AD" clId="Web-{C93D31B3-2B8C-DAAF-7090-3A2197BCB065}" dt="2023-10-27T21:31:50.088" v="225"/>
        <pc:sldMkLst>
          <pc:docMk/>
          <pc:sldMk cId="3355787309" sldId="604"/>
        </pc:sldMkLst>
        <pc:spChg chg="mod">
          <ac:chgData name="Eileen Fleming Suse" userId="S::efs3844@ads.northwestern.edu::725c94ef-d051-42d7-9d33-8572765d592b" providerId="AD" clId="Web-{C93D31B3-2B8C-DAAF-7090-3A2197BCB065}" dt="2023-10-27T21:31:34.291" v="220" actId="1076"/>
          <ac:spMkLst>
            <pc:docMk/>
            <pc:sldMk cId="3355787309" sldId="604"/>
            <ac:spMk id="2" creationId="{3D3DB2FD-422B-6FE2-6A77-68A0BED56A59}"/>
          </ac:spMkLst>
        </pc:spChg>
        <pc:spChg chg="del mod">
          <ac:chgData name="Eileen Fleming Suse" userId="S::efs3844@ads.northwestern.edu::725c94ef-d051-42d7-9d33-8572765d592b" providerId="AD" clId="Web-{C93D31B3-2B8C-DAAF-7090-3A2197BCB065}" dt="2023-10-27T21:02:41.005" v="106"/>
          <ac:spMkLst>
            <pc:docMk/>
            <pc:sldMk cId="3355787309" sldId="604"/>
            <ac:spMk id="3" creationId="{B1DF9D3E-53CE-A0B4-3C3C-775A3E3EE2E0}"/>
          </ac:spMkLst>
        </pc:spChg>
        <pc:spChg chg="add mod">
          <ac:chgData name="Eileen Fleming Suse" userId="S::efs3844@ads.northwestern.edu::725c94ef-d051-42d7-9d33-8572765d592b" providerId="AD" clId="Web-{C93D31B3-2B8C-DAAF-7090-3A2197BCB065}" dt="2023-10-27T21:31:44.448" v="224" actId="14100"/>
          <ac:spMkLst>
            <pc:docMk/>
            <pc:sldMk cId="3355787309" sldId="604"/>
            <ac:spMk id="7" creationId="{C2C4A4FB-85F0-1A6F-FCE0-0B66658A2386}"/>
          </ac:spMkLst>
        </pc:spChg>
        <pc:picChg chg="add del mod">
          <ac:chgData name="Eileen Fleming Suse" userId="S::efs3844@ads.northwestern.edu::725c94ef-d051-42d7-9d33-8572765d592b" providerId="AD" clId="Web-{C93D31B3-2B8C-DAAF-7090-3A2197BCB065}" dt="2023-10-27T21:29:46.945" v="207"/>
          <ac:picMkLst>
            <pc:docMk/>
            <pc:sldMk cId="3355787309" sldId="604"/>
            <ac:picMk id="8" creationId="{CFCA719F-085D-BF88-9706-0C08E8805D92}"/>
          </ac:picMkLst>
        </pc:picChg>
        <pc:picChg chg="add del mod">
          <ac:chgData name="Eileen Fleming Suse" userId="S::efs3844@ads.northwestern.edu::725c94ef-d051-42d7-9d33-8572765d592b" providerId="AD" clId="Web-{C93D31B3-2B8C-DAAF-7090-3A2197BCB065}" dt="2023-10-27T21:30:15.743" v="212"/>
          <ac:picMkLst>
            <pc:docMk/>
            <pc:sldMk cId="3355787309" sldId="604"/>
            <ac:picMk id="9" creationId="{A76D19E5-C9EB-D9B7-1001-C47E41765400}"/>
          </ac:picMkLst>
        </pc:picChg>
        <pc:picChg chg="add mod">
          <ac:chgData name="Eileen Fleming Suse" userId="S::efs3844@ads.northwestern.edu::725c94ef-d051-42d7-9d33-8572765d592b" providerId="AD" clId="Web-{C93D31B3-2B8C-DAAF-7090-3A2197BCB065}" dt="2023-10-27T21:31:30.338" v="218" actId="1076"/>
          <ac:picMkLst>
            <pc:docMk/>
            <pc:sldMk cId="3355787309" sldId="604"/>
            <ac:picMk id="10" creationId="{66E5EB26-086B-E77E-CBE6-BB12DE36113C}"/>
          </ac:picMkLst>
        </pc:picChg>
        <pc:extLst>
          <p:ext xmlns:p="http://schemas.openxmlformats.org/presentationml/2006/main" uri="{D6D511B9-2390-475A-947B-AFAB55BFBCF1}">
            <pc226:cmChg xmlns:pc226="http://schemas.microsoft.com/office/powerpoint/2022/06/main/command" chg="mod">
              <pc226:chgData name="Eileen Fleming Suse" userId="S::efs3844@ads.northwestern.edu::725c94ef-d051-42d7-9d33-8572765d592b" providerId="AD" clId="Web-{C93D31B3-2B8C-DAAF-7090-3A2197BCB065}" dt="2023-10-27T21:31:50.088" v="225"/>
              <pc2:cmMkLst xmlns:pc2="http://schemas.microsoft.com/office/powerpoint/2019/9/main/command">
                <pc:docMk/>
                <pc:sldMk cId="3355787309" sldId="604"/>
                <pc2:cmMk id="{5635E0A6-AC69-4FB6-B7FE-9DA078BBCAEE}"/>
              </pc2:cmMkLst>
            </pc226:cmChg>
          </p:ext>
        </pc:extLst>
      </pc:sldChg>
      <pc:sldChg chg="addSp delSp modSp">
        <pc:chgData name="Eileen Fleming Suse" userId="S::efs3844@ads.northwestern.edu::725c94ef-d051-42d7-9d33-8572765d592b" providerId="AD" clId="Web-{C93D31B3-2B8C-DAAF-7090-3A2197BCB065}" dt="2023-10-27T21:04:15.366" v="110"/>
        <pc:sldMkLst>
          <pc:docMk/>
          <pc:sldMk cId="1452140663" sldId="605"/>
        </pc:sldMkLst>
        <pc:spChg chg="add del mod">
          <ac:chgData name="Eileen Fleming Suse" userId="S::efs3844@ads.northwestern.edu::725c94ef-d051-42d7-9d33-8572765d592b" providerId="AD" clId="Web-{C93D31B3-2B8C-DAAF-7090-3A2197BCB065}" dt="2023-10-27T21:04:15.366" v="110"/>
          <ac:spMkLst>
            <pc:docMk/>
            <pc:sldMk cId="1452140663" sldId="605"/>
            <ac:spMk id="3" creationId="{7DA7F350-CE79-EDF6-B779-CC8CCCE0E40A}"/>
          </ac:spMkLst>
        </pc:spChg>
      </pc:sldChg>
      <pc:sldChg chg="delCm">
        <pc:chgData name="Eileen Fleming Suse" userId="S::efs3844@ads.northwestern.edu::725c94ef-d051-42d7-9d33-8572765d592b" providerId="AD" clId="Web-{C93D31B3-2B8C-DAAF-7090-3A2197BCB065}" dt="2023-10-27T21:32:15.542" v="226"/>
        <pc:sldMkLst>
          <pc:docMk/>
          <pc:sldMk cId="2003568291" sldId="609"/>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C93D31B3-2B8C-DAAF-7090-3A2197BCB065}" dt="2023-10-27T21:32:15.542" v="226"/>
              <pc2:cmMkLst xmlns:pc2="http://schemas.microsoft.com/office/powerpoint/2019/9/main/command">
                <pc:docMk/>
                <pc:sldMk cId="2003568291" sldId="609"/>
                <pc2:cmMk id="{AE1B6C45-0EF0-4CD3-8E51-393E7FE3AF62}"/>
              </pc2:cmMkLst>
            </pc226:cmChg>
          </p:ext>
        </pc:extLst>
      </pc:sldChg>
      <pc:sldChg chg="modSp">
        <pc:chgData name="Eileen Fleming Suse" userId="S::efs3844@ads.northwestern.edu::725c94ef-d051-42d7-9d33-8572765d592b" providerId="AD" clId="Web-{C93D31B3-2B8C-DAAF-7090-3A2197BCB065}" dt="2023-10-27T20:25:18.004" v="5" actId="1076"/>
        <pc:sldMkLst>
          <pc:docMk/>
          <pc:sldMk cId="3726638559" sldId="616"/>
        </pc:sldMkLst>
        <pc:spChg chg="mod">
          <ac:chgData name="Eileen Fleming Suse" userId="S::efs3844@ads.northwestern.edu::725c94ef-d051-42d7-9d33-8572765d592b" providerId="AD" clId="Web-{C93D31B3-2B8C-DAAF-7090-3A2197BCB065}" dt="2023-10-27T20:25:18.004" v="5" actId="1076"/>
          <ac:spMkLst>
            <pc:docMk/>
            <pc:sldMk cId="3726638559" sldId="616"/>
            <ac:spMk id="2175" creationId="{00000000-0000-0000-0000-000000000000}"/>
          </ac:spMkLst>
        </pc:spChg>
      </pc:sldChg>
      <pc:sldChg chg="addSp modSp addAnim delAnim">
        <pc:chgData name="Eileen Fleming Suse" userId="S::efs3844@ads.northwestern.edu::725c94ef-d051-42d7-9d33-8572765d592b" providerId="AD" clId="Web-{C93D31B3-2B8C-DAAF-7090-3A2197BCB065}" dt="2023-10-27T20:31:31.278" v="42"/>
        <pc:sldMkLst>
          <pc:docMk/>
          <pc:sldMk cId="1210022179" sldId="617"/>
        </pc:sldMkLst>
        <pc:spChg chg="add mod">
          <ac:chgData name="Eileen Fleming Suse" userId="S::efs3844@ads.northwestern.edu::725c94ef-d051-42d7-9d33-8572765d592b" providerId="AD" clId="Web-{C93D31B3-2B8C-DAAF-7090-3A2197BCB065}" dt="2023-10-27T20:28:42.899" v="19" actId="14100"/>
          <ac:spMkLst>
            <pc:docMk/>
            <pc:sldMk cId="1210022179" sldId="617"/>
            <ac:spMk id="3" creationId="{58E28592-FDD2-A9FB-FF64-0D7E537442D4}"/>
          </ac:spMkLst>
        </pc:spChg>
        <pc:spChg chg="add mod">
          <ac:chgData name="Eileen Fleming Suse" userId="S::efs3844@ads.northwestern.edu::725c94ef-d051-42d7-9d33-8572765d592b" providerId="AD" clId="Web-{C93D31B3-2B8C-DAAF-7090-3A2197BCB065}" dt="2023-10-27T20:31:20.653" v="40" actId="20577"/>
          <ac:spMkLst>
            <pc:docMk/>
            <pc:sldMk cId="1210022179" sldId="617"/>
            <ac:spMk id="6" creationId="{602B4FC7-02B4-B308-F882-1F10636CBFF9}"/>
          </ac:spMkLst>
        </pc:spChg>
      </pc:sldChg>
      <pc:sldChg chg="del">
        <pc:chgData name="Eileen Fleming Suse" userId="S::efs3844@ads.northwestern.edu::725c94ef-d051-42d7-9d33-8572765d592b" providerId="AD" clId="Web-{C93D31B3-2B8C-DAAF-7090-3A2197BCB065}" dt="2023-10-27T20:29:09.806" v="23"/>
        <pc:sldMkLst>
          <pc:docMk/>
          <pc:sldMk cId="3431700372" sldId="618"/>
        </pc:sldMkLst>
      </pc:sldChg>
      <pc:sldChg chg="del">
        <pc:chgData name="Eileen Fleming Suse" userId="S::efs3844@ads.northwestern.edu::725c94ef-d051-42d7-9d33-8572765d592b" providerId="AD" clId="Web-{C93D31B3-2B8C-DAAF-7090-3A2197BCB065}" dt="2023-10-27T20:29:39.400" v="26"/>
        <pc:sldMkLst>
          <pc:docMk/>
          <pc:sldMk cId="923498403" sldId="619"/>
        </pc:sldMkLst>
      </pc:sldChg>
      <pc:sldChg chg="del">
        <pc:chgData name="Eileen Fleming Suse" userId="S::efs3844@ads.northwestern.edu::725c94ef-d051-42d7-9d33-8572765d592b" providerId="AD" clId="Web-{C93D31B3-2B8C-DAAF-7090-3A2197BCB065}" dt="2023-10-27T20:29:49.526" v="27"/>
        <pc:sldMkLst>
          <pc:docMk/>
          <pc:sldMk cId="3074345071" sldId="620"/>
        </pc:sldMkLst>
      </pc:sldChg>
      <pc:sldChg chg="ord addAnim">
        <pc:chgData name="Eileen Fleming Suse" userId="S::efs3844@ads.northwestern.edu::725c94ef-d051-42d7-9d33-8572765d592b" providerId="AD" clId="Web-{C93D31B3-2B8C-DAAF-7090-3A2197BCB065}" dt="2023-10-27T20:27:46.132" v="13"/>
        <pc:sldMkLst>
          <pc:docMk/>
          <pc:sldMk cId="3850125703" sldId="622"/>
        </pc:sldMkLst>
      </pc:sldChg>
      <pc:sldChg chg="addSp modSp add replId addAnim">
        <pc:chgData name="Eileen Fleming Suse" userId="S::efs3844@ads.northwestern.edu::725c94ef-d051-42d7-9d33-8572765d592b" providerId="AD" clId="Web-{C93D31B3-2B8C-DAAF-7090-3A2197BCB065}" dt="2023-10-27T20:32:10.872" v="46" actId="20577"/>
        <pc:sldMkLst>
          <pc:docMk/>
          <pc:sldMk cId="2561278274" sldId="630"/>
        </pc:sldMkLst>
        <pc:spChg chg="mod">
          <ac:chgData name="Eileen Fleming Suse" userId="S::efs3844@ads.northwestern.edu::725c94ef-d051-42d7-9d33-8572765d592b" providerId="AD" clId="Web-{C93D31B3-2B8C-DAAF-7090-3A2197BCB065}" dt="2023-10-27T20:29:06.103" v="22" actId="1076"/>
          <ac:spMkLst>
            <pc:docMk/>
            <pc:sldMk cId="2561278274" sldId="630"/>
            <ac:spMk id="3" creationId="{58E28592-FDD2-A9FB-FF64-0D7E537442D4}"/>
          </ac:spMkLst>
        </pc:spChg>
        <pc:spChg chg="add mod">
          <ac:chgData name="Eileen Fleming Suse" userId="S::efs3844@ads.northwestern.edu::725c94ef-d051-42d7-9d33-8572765d592b" providerId="AD" clId="Web-{C93D31B3-2B8C-DAAF-7090-3A2197BCB065}" dt="2023-10-27T20:32:10.872" v="46" actId="20577"/>
          <ac:spMkLst>
            <pc:docMk/>
            <pc:sldMk cId="2561278274" sldId="630"/>
            <ac:spMk id="7" creationId="{8496B0C4-3602-7272-3A32-22184B4B8223}"/>
          </ac:spMkLst>
        </pc:spChg>
      </pc:sldChg>
      <pc:sldChg chg="addSp modSp add replId addAnim delAnim">
        <pc:chgData name="Eileen Fleming Suse" userId="S::efs3844@ads.northwestern.edu::725c94ef-d051-42d7-9d33-8572765d592b" providerId="AD" clId="Web-{C93D31B3-2B8C-DAAF-7090-3A2197BCB065}" dt="2023-10-27T20:32:37.435" v="51"/>
        <pc:sldMkLst>
          <pc:docMk/>
          <pc:sldMk cId="488873692" sldId="631"/>
        </pc:sldMkLst>
        <pc:spChg chg="mod">
          <ac:chgData name="Eileen Fleming Suse" userId="S::efs3844@ads.northwestern.edu::725c94ef-d051-42d7-9d33-8572765d592b" providerId="AD" clId="Web-{C93D31B3-2B8C-DAAF-7090-3A2197BCB065}" dt="2023-10-27T20:29:32.728" v="25" actId="1076"/>
          <ac:spMkLst>
            <pc:docMk/>
            <pc:sldMk cId="488873692" sldId="631"/>
            <ac:spMk id="3" creationId="{58E28592-FDD2-A9FB-FF64-0D7E537442D4}"/>
          </ac:spMkLst>
        </pc:spChg>
        <pc:spChg chg="add mod">
          <ac:chgData name="Eileen Fleming Suse" userId="S::efs3844@ads.northwestern.edu::725c94ef-d051-42d7-9d33-8572765d592b" providerId="AD" clId="Web-{C93D31B3-2B8C-DAAF-7090-3A2197BCB065}" dt="2023-10-27T20:32:37.201" v="50" actId="20577"/>
          <ac:spMkLst>
            <pc:docMk/>
            <pc:sldMk cId="488873692" sldId="631"/>
            <ac:spMk id="7" creationId="{DFD5A0D1-51F6-710D-06A4-BD15D9E25C76}"/>
          </ac:spMkLst>
        </pc:spChg>
      </pc:sldChg>
      <pc:sldChg chg="addSp modSp add ord replId addAnim">
        <pc:chgData name="Eileen Fleming Suse" userId="S::efs3844@ads.northwestern.edu::725c94ef-d051-42d7-9d33-8572765d592b" providerId="AD" clId="Web-{C93D31B3-2B8C-DAAF-7090-3A2197BCB065}" dt="2023-10-27T20:32:48.670" v="54" actId="20577"/>
        <pc:sldMkLst>
          <pc:docMk/>
          <pc:sldMk cId="3115055849" sldId="632"/>
        </pc:sldMkLst>
        <pc:spChg chg="mod">
          <ac:chgData name="Eileen Fleming Suse" userId="S::efs3844@ads.northwestern.edu::725c94ef-d051-42d7-9d33-8572765d592b" providerId="AD" clId="Web-{C93D31B3-2B8C-DAAF-7090-3A2197BCB065}" dt="2023-10-27T20:30:07.417" v="30" actId="1076"/>
          <ac:spMkLst>
            <pc:docMk/>
            <pc:sldMk cId="3115055849" sldId="632"/>
            <ac:spMk id="3" creationId="{58E28592-FDD2-A9FB-FF64-0D7E537442D4}"/>
          </ac:spMkLst>
        </pc:spChg>
        <pc:spChg chg="add mod">
          <ac:chgData name="Eileen Fleming Suse" userId="S::efs3844@ads.northwestern.edu::725c94ef-d051-42d7-9d33-8572765d592b" providerId="AD" clId="Web-{C93D31B3-2B8C-DAAF-7090-3A2197BCB065}" dt="2023-10-27T20:32:48.670" v="54" actId="20577"/>
          <ac:spMkLst>
            <pc:docMk/>
            <pc:sldMk cId="3115055849" sldId="632"/>
            <ac:spMk id="7" creationId="{C2E32C2D-903E-520B-06DF-BD02CDACB918}"/>
          </ac:spMkLst>
        </pc:spChg>
      </pc:sldChg>
      <pc:sldChg chg="addSp modSp add replId addAnim">
        <pc:chgData name="Eileen Fleming Suse" userId="S::efs3844@ads.northwestern.edu::725c94ef-d051-42d7-9d33-8572765d592b" providerId="AD" clId="Web-{C93D31B3-2B8C-DAAF-7090-3A2197BCB065}" dt="2023-10-27T20:33:06.811" v="57" actId="20577"/>
        <pc:sldMkLst>
          <pc:docMk/>
          <pc:sldMk cId="3999708931" sldId="633"/>
        </pc:sldMkLst>
        <pc:spChg chg="mod">
          <ac:chgData name="Eileen Fleming Suse" userId="S::efs3844@ads.northwestern.edu::725c94ef-d051-42d7-9d33-8572765d592b" providerId="AD" clId="Web-{C93D31B3-2B8C-DAAF-7090-3A2197BCB065}" dt="2023-10-27T20:30:30.042" v="32" actId="1076"/>
          <ac:spMkLst>
            <pc:docMk/>
            <pc:sldMk cId="3999708931" sldId="633"/>
            <ac:spMk id="3" creationId="{58E28592-FDD2-A9FB-FF64-0D7E537442D4}"/>
          </ac:spMkLst>
        </pc:spChg>
        <pc:spChg chg="add mod">
          <ac:chgData name="Eileen Fleming Suse" userId="S::efs3844@ads.northwestern.edu::725c94ef-d051-42d7-9d33-8572765d592b" providerId="AD" clId="Web-{C93D31B3-2B8C-DAAF-7090-3A2197BCB065}" dt="2023-10-27T20:33:06.811" v="57" actId="20577"/>
          <ac:spMkLst>
            <pc:docMk/>
            <pc:sldMk cId="3999708931" sldId="633"/>
            <ac:spMk id="7" creationId="{32D43D21-12EB-57B8-92CD-FBCBE656C832}"/>
          </ac:spMkLst>
        </pc:spChg>
      </pc:sldChg>
    </pc:docChg>
  </pc:docChgLst>
  <pc:docChgLst>
    <pc:chgData name="Eileen Fleming Suse" userId="S::efs3844@ads.northwestern.edu::725c94ef-d051-42d7-9d33-8572765d592b" providerId="AD" clId="Web-{9DE0ADE9-A0A8-D2EA-1EF2-AD3C089DDA7A}"/>
    <pc:docChg chg="addSld delSld modSld addMainMaster">
      <pc:chgData name="Eileen Fleming Suse" userId="S::efs3844@ads.northwestern.edu::725c94ef-d051-42d7-9d33-8572765d592b" providerId="AD" clId="Web-{9DE0ADE9-A0A8-D2EA-1EF2-AD3C089DDA7A}" dt="2023-10-19T17:41:58.437" v="223"/>
      <pc:docMkLst>
        <pc:docMk/>
      </pc:docMkLst>
      <pc:sldChg chg="modSp">
        <pc:chgData name="Eileen Fleming Suse" userId="S::efs3844@ads.northwestern.edu::725c94ef-d051-42d7-9d33-8572765d592b" providerId="AD" clId="Web-{9DE0ADE9-A0A8-D2EA-1EF2-AD3C089DDA7A}" dt="2023-10-19T17:15:26.480" v="60" actId="20577"/>
        <pc:sldMkLst>
          <pc:docMk/>
          <pc:sldMk cId="3127921386" sldId="280"/>
        </pc:sldMkLst>
        <pc:spChg chg="mod">
          <ac:chgData name="Eileen Fleming Suse" userId="S::efs3844@ads.northwestern.edu::725c94ef-d051-42d7-9d33-8572765d592b" providerId="AD" clId="Web-{9DE0ADE9-A0A8-D2EA-1EF2-AD3C089DDA7A}" dt="2023-10-19T17:14:04.384" v="2" actId="20577"/>
          <ac:spMkLst>
            <pc:docMk/>
            <pc:sldMk cId="3127921386" sldId="280"/>
            <ac:spMk id="3" creationId="{1D742501-F937-8041-84E5-748F96AE991B}"/>
          </ac:spMkLst>
        </pc:spChg>
        <pc:spChg chg="mod">
          <ac:chgData name="Eileen Fleming Suse" userId="S::efs3844@ads.northwestern.edu::725c94ef-d051-42d7-9d33-8572765d592b" providerId="AD" clId="Web-{9DE0ADE9-A0A8-D2EA-1EF2-AD3C089DDA7A}" dt="2023-10-19T17:15:26.480" v="60" actId="20577"/>
          <ac:spMkLst>
            <pc:docMk/>
            <pc:sldMk cId="3127921386" sldId="280"/>
            <ac:spMk id="4" creationId="{19922563-64D6-2A4E-B048-13AC25DB45AD}"/>
          </ac:spMkLst>
        </pc:spChg>
      </pc:sldChg>
      <pc:sldChg chg="modSp">
        <pc:chgData name="Eileen Fleming Suse" userId="S::efs3844@ads.northwestern.edu::725c94ef-d051-42d7-9d33-8572765d592b" providerId="AD" clId="Web-{9DE0ADE9-A0A8-D2EA-1EF2-AD3C089DDA7A}" dt="2023-10-19T17:31:26.808" v="220" actId="20577"/>
        <pc:sldMkLst>
          <pc:docMk/>
          <pc:sldMk cId="4044691067" sldId="283"/>
        </pc:sldMkLst>
        <pc:spChg chg="mod">
          <ac:chgData name="Eileen Fleming Suse" userId="S::efs3844@ads.northwestern.edu::725c94ef-d051-42d7-9d33-8572765d592b" providerId="AD" clId="Web-{9DE0ADE9-A0A8-D2EA-1EF2-AD3C089DDA7A}" dt="2023-10-19T17:20:28.099" v="150" actId="20577"/>
          <ac:spMkLst>
            <pc:docMk/>
            <pc:sldMk cId="4044691067" sldId="283"/>
            <ac:spMk id="3" creationId="{00000000-0000-0000-0000-000000000000}"/>
          </ac:spMkLst>
        </pc:spChg>
        <pc:spChg chg="mod">
          <ac:chgData name="Eileen Fleming Suse" userId="S::efs3844@ads.northwestern.edu::725c94ef-d051-42d7-9d33-8572765d592b" providerId="AD" clId="Web-{9DE0ADE9-A0A8-D2EA-1EF2-AD3C089DDA7A}" dt="2023-10-19T17:31:26.808" v="220"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9DE0ADE9-A0A8-D2EA-1EF2-AD3C089DDA7A}" dt="2023-10-19T17:14:36.276" v="18"/>
        <pc:sldMkLst>
          <pc:docMk/>
          <pc:sldMk cId="2069350649" sldId="284"/>
        </pc:sldMkLst>
      </pc:sldChg>
      <pc:sldChg chg="del">
        <pc:chgData name="Eileen Fleming Suse" userId="S::efs3844@ads.northwestern.edu::725c94ef-d051-42d7-9d33-8572765d592b" providerId="AD" clId="Web-{9DE0ADE9-A0A8-D2EA-1EF2-AD3C089DDA7A}" dt="2023-10-19T17:14:43.713" v="23"/>
        <pc:sldMkLst>
          <pc:docMk/>
          <pc:sldMk cId="2092144123" sldId="285"/>
        </pc:sldMkLst>
      </pc:sldChg>
      <pc:sldChg chg="del">
        <pc:chgData name="Eileen Fleming Suse" userId="S::efs3844@ads.northwestern.edu::725c94ef-d051-42d7-9d33-8572765d592b" providerId="AD" clId="Web-{9DE0ADE9-A0A8-D2EA-1EF2-AD3C089DDA7A}" dt="2023-10-19T17:14:35.369" v="17"/>
        <pc:sldMkLst>
          <pc:docMk/>
          <pc:sldMk cId="1536630639" sldId="286"/>
        </pc:sldMkLst>
      </pc:sldChg>
      <pc:sldChg chg="del">
        <pc:chgData name="Eileen Fleming Suse" userId="S::efs3844@ads.northwestern.edu::725c94ef-d051-42d7-9d33-8572765d592b" providerId="AD" clId="Web-{9DE0ADE9-A0A8-D2EA-1EF2-AD3C089DDA7A}" dt="2023-10-19T17:14:37.760" v="19"/>
        <pc:sldMkLst>
          <pc:docMk/>
          <pc:sldMk cId="837706999" sldId="287"/>
        </pc:sldMkLst>
      </pc:sldChg>
      <pc:sldChg chg="del">
        <pc:chgData name="Eileen Fleming Suse" userId="S::efs3844@ads.northwestern.edu::725c94ef-d051-42d7-9d33-8572765d592b" providerId="AD" clId="Web-{9DE0ADE9-A0A8-D2EA-1EF2-AD3C089DDA7A}" dt="2023-10-19T17:14:38.151" v="20"/>
        <pc:sldMkLst>
          <pc:docMk/>
          <pc:sldMk cId="593652294" sldId="289"/>
        </pc:sldMkLst>
      </pc:sldChg>
      <pc:sldChg chg="del">
        <pc:chgData name="Eileen Fleming Suse" userId="S::efs3844@ads.northwestern.edu::725c94ef-d051-42d7-9d33-8572765d592b" providerId="AD" clId="Web-{9DE0ADE9-A0A8-D2EA-1EF2-AD3C089DDA7A}" dt="2023-10-19T17:14:24.494" v="5"/>
        <pc:sldMkLst>
          <pc:docMk/>
          <pc:sldMk cId="2453140522" sldId="291"/>
        </pc:sldMkLst>
      </pc:sldChg>
      <pc:sldChg chg="del">
        <pc:chgData name="Eileen Fleming Suse" userId="S::efs3844@ads.northwestern.edu::725c94ef-d051-42d7-9d33-8572765d592b" providerId="AD" clId="Web-{9DE0ADE9-A0A8-D2EA-1EF2-AD3C089DDA7A}" dt="2023-10-19T17:14:26.275" v="6"/>
        <pc:sldMkLst>
          <pc:docMk/>
          <pc:sldMk cId="1209325080" sldId="292"/>
        </pc:sldMkLst>
      </pc:sldChg>
      <pc:sldChg chg="del">
        <pc:chgData name="Eileen Fleming Suse" userId="S::efs3844@ads.northwestern.edu::725c94ef-d051-42d7-9d33-8572765d592b" providerId="AD" clId="Web-{9DE0ADE9-A0A8-D2EA-1EF2-AD3C089DDA7A}" dt="2023-10-19T17:14:42.213" v="22"/>
        <pc:sldMkLst>
          <pc:docMk/>
          <pc:sldMk cId="2487210000" sldId="294"/>
        </pc:sldMkLst>
      </pc:sldChg>
      <pc:sldChg chg="del">
        <pc:chgData name="Eileen Fleming Suse" userId="S::efs3844@ads.northwestern.edu::725c94ef-d051-42d7-9d33-8572765d592b" providerId="AD" clId="Web-{9DE0ADE9-A0A8-D2EA-1EF2-AD3C089DDA7A}" dt="2023-10-19T17:14:55.589" v="52"/>
        <pc:sldMkLst>
          <pc:docMk/>
          <pc:sldMk cId="2040509865" sldId="295"/>
        </pc:sldMkLst>
      </pc:sldChg>
      <pc:sldChg chg="del">
        <pc:chgData name="Eileen Fleming Suse" userId="S::efs3844@ads.northwestern.edu::725c94ef-d051-42d7-9d33-8572765d592b" providerId="AD" clId="Web-{9DE0ADE9-A0A8-D2EA-1EF2-AD3C089DDA7A}" dt="2023-10-19T17:14:55.417" v="35"/>
        <pc:sldMkLst>
          <pc:docMk/>
          <pc:sldMk cId="3613951002" sldId="299"/>
        </pc:sldMkLst>
      </pc:sldChg>
      <pc:sldChg chg="del">
        <pc:chgData name="Eileen Fleming Suse" userId="S::efs3844@ads.northwestern.edu::725c94ef-d051-42d7-9d33-8572765d592b" providerId="AD" clId="Web-{9DE0ADE9-A0A8-D2EA-1EF2-AD3C089DDA7A}" dt="2023-10-19T17:14:48.120" v="29"/>
        <pc:sldMkLst>
          <pc:docMk/>
          <pc:sldMk cId="426344767" sldId="300"/>
        </pc:sldMkLst>
      </pc:sldChg>
      <pc:sldChg chg="del">
        <pc:chgData name="Eileen Fleming Suse" userId="S::efs3844@ads.northwestern.edu::725c94ef-d051-42d7-9d33-8572765d592b" providerId="AD" clId="Web-{9DE0ADE9-A0A8-D2EA-1EF2-AD3C089DDA7A}" dt="2023-10-19T17:14:55.495" v="46"/>
        <pc:sldMkLst>
          <pc:docMk/>
          <pc:sldMk cId="1677014618" sldId="302"/>
        </pc:sldMkLst>
      </pc:sldChg>
      <pc:sldChg chg="del">
        <pc:chgData name="Eileen Fleming Suse" userId="S::efs3844@ads.northwestern.edu::725c94ef-d051-42d7-9d33-8572765d592b" providerId="AD" clId="Web-{9DE0ADE9-A0A8-D2EA-1EF2-AD3C089DDA7A}" dt="2023-10-19T17:14:55.526" v="48"/>
        <pc:sldMkLst>
          <pc:docMk/>
          <pc:sldMk cId="708289948" sldId="303"/>
        </pc:sldMkLst>
      </pc:sldChg>
      <pc:sldChg chg="del">
        <pc:chgData name="Eileen Fleming Suse" userId="S::efs3844@ads.northwestern.edu::725c94ef-d051-42d7-9d33-8572765d592b" providerId="AD" clId="Web-{9DE0ADE9-A0A8-D2EA-1EF2-AD3C089DDA7A}" dt="2023-10-19T17:14:55.511" v="47"/>
        <pc:sldMkLst>
          <pc:docMk/>
          <pc:sldMk cId="2653032575" sldId="304"/>
        </pc:sldMkLst>
      </pc:sldChg>
      <pc:sldChg chg="del">
        <pc:chgData name="Eileen Fleming Suse" userId="S::efs3844@ads.northwestern.edu::725c94ef-d051-42d7-9d33-8572765d592b" providerId="AD" clId="Web-{9DE0ADE9-A0A8-D2EA-1EF2-AD3C089DDA7A}" dt="2023-10-19T17:14:55.542" v="49"/>
        <pc:sldMkLst>
          <pc:docMk/>
          <pc:sldMk cId="1372958822" sldId="305"/>
        </pc:sldMkLst>
      </pc:sldChg>
      <pc:sldChg chg="del">
        <pc:chgData name="Eileen Fleming Suse" userId="S::efs3844@ads.northwestern.edu::725c94ef-d051-42d7-9d33-8572765d592b" providerId="AD" clId="Web-{9DE0ADE9-A0A8-D2EA-1EF2-AD3C089DDA7A}" dt="2023-10-19T17:14:55.479" v="45"/>
        <pc:sldMkLst>
          <pc:docMk/>
          <pc:sldMk cId="780409547" sldId="307"/>
        </pc:sldMkLst>
      </pc:sldChg>
      <pc:sldChg chg="del">
        <pc:chgData name="Eileen Fleming Suse" userId="S::efs3844@ads.northwestern.edu::725c94ef-d051-42d7-9d33-8572765d592b" providerId="AD" clId="Web-{9DE0ADE9-A0A8-D2EA-1EF2-AD3C089DDA7A}" dt="2023-10-19T17:14:55.589" v="53"/>
        <pc:sldMkLst>
          <pc:docMk/>
          <pc:sldMk cId="329125591" sldId="308"/>
        </pc:sldMkLst>
      </pc:sldChg>
      <pc:sldChg chg="del">
        <pc:chgData name="Eileen Fleming Suse" userId="S::efs3844@ads.northwestern.edu::725c94ef-d051-42d7-9d33-8572765d592b" providerId="AD" clId="Web-{9DE0ADE9-A0A8-D2EA-1EF2-AD3C089DDA7A}" dt="2023-10-19T17:14:44.213" v="24"/>
        <pc:sldMkLst>
          <pc:docMk/>
          <pc:sldMk cId="2033640025" sldId="309"/>
        </pc:sldMkLst>
      </pc:sldChg>
      <pc:sldChg chg="del">
        <pc:chgData name="Eileen Fleming Suse" userId="S::efs3844@ads.northwestern.edu::725c94ef-d051-42d7-9d33-8572765d592b" providerId="AD" clId="Web-{9DE0ADE9-A0A8-D2EA-1EF2-AD3C089DDA7A}" dt="2023-10-19T17:14:45.901" v="26"/>
        <pc:sldMkLst>
          <pc:docMk/>
          <pc:sldMk cId="1888859321" sldId="310"/>
        </pc:sldMkLst>
      </pc:sldChg>
      <pc:sldChg chg="del">
        <pc:chgData name="Eileen Fleming Suse" userId="S::efs3844@ads.northwestern.edu::725c94ef-d051-42d7-9d33-8572765d592b" providerId="AD" clId="Web-{9DE0ADE9-A0A8-D2EA-1EF2-AD3C089DDA7A}" dt="2023-10-19T17:14:46.573" v="27"/>
        <pc:sldMkLst>
          <pc:docMk/>
          <pc:sldMk cId="2782366363" sldId="311"/>
        </pc:sldMkLst>
      </pc:sldChg>
      <pc:sldChg chg="del">
        <pc:chgData name="Eileen Fleming Suse" userId="S::efs3844@ads.northwestern.edu::725c94ef-d051-42d7-9d33-8572765d592b" providerId="AD" clId="Web-{9DE0ADE9-A0A8-D2EA-1EF2-AD3C089DDA7A}" dt="2023-10-19T17:14:47.167" v="28"/>
        <pc:sldMkLst>
          <pc:docMk/>
          <pc:sldMk cId="1780623164" sldId="312"/>
        </pc:sldMkLst>
      </pc:sldChg>
      <pc:sldChg chg="del">
        <pc:chgData name="Eileen Fleming Suse" userId="S::efs3844@ads.northwestern.edu::725c94ef-d051-42d7-9d33-8572765d592b" providerId="AD" clId="Web-{9DE0ADE9-A0A8-D2EA-1EF2-AD3C089DDA7A}" dt="2023-10-19T17:14:48.479" v="30"/>
        <pc:sldMkLst>
          <pc:docMk/>
          <pc:sldMk cId="1724020679" sldId="313"/>
        </pc:sldMkLst>
      </pc:sldChg>
      <pc:sldChg chg="del">
        <pc:chgData name="Eileen Fleming Suse" userId="S::efs3844@ads.northwestern.edu::725c94ef-d051-42d7-9d33-8572765d592b" providerId="AD" clId="Web-{9DE0ADE9-A0A8-D2EA-1EF2-AD3C089DDA7A}" dt="2023-10-19T17:14:49.104" v="31"/>
        <pc:sldMkLst>
          <pc:docMk/>
          <pc:sldMk cId="201651367" sldId="314"/>
        </pc:sldMkLst>
      </pc:sldChg>
      <pc:sldChg chg="del">
        <pc:chgData name="Eileen Fleming Suse" userId="S::efs3844@ads.northwestern.edu::725c94ef-d051-42d7-9d33-8572765d592b" providerId="AD" clId="Web-{9DE0ADE9-A0A8-D2EA-1EF2-AD3C089DDA7A}" dt="2023-10-19T17:14:55.589" v="55"/>
        <pc:sldMkLst>
          <pc:docMk/>
          <pc:sldMk cId="1008592618" sldId="315"/>
        </pc:sldMkLst>
      </pc:sldChg>
      <pc:sldChg chg="del">
        <pc:chgData name="Eileen Fleming Suse" userId="S::efs3844@ads.northwestern.edu::725c94ef-d051-42d7-9d33-8572765d592b" providerId="AD" clId="Web-{9DE0ADE9-A0A8-D2EA-1EF2-AD3C089DDA7A}" dt="2023-10-19T17:14:55.432" v="38"/>
        <pc:sldMkLst>
          <pc:docMk/>
          <pc:sldMk cId="1410612689" sldId="316"/>
        </pc:sldMkLst>
      </pc:sldChg>
      <pc:sldChg chg="del">
        <pc:chgData name="Eileen Fleming Suse" userId="S::efs3844@ads.northwestern.edu::725c94ef-d051-42d7-9d33-8572765d592b" providerId="AD" clId="Web-{9DE0ADE9-A0A8-D2EA-1EF2-AD3C089DDA7A}" dt="2023-10-19T17:14:55.589" v="54"/>
        <pc:sldMkLst>
          <pc:docMk/>
          <pc:sldMk cId="3358066547" sldId="317"/>
        </pc:sldMkLst>
      </pc:sldChg>
      <pc:sldChg chg="del">
        <pc:chgData name="Eileen Fleming Suse" userId="S::efs3844@ads.northwestern.edu::725c94ef-d051-42d7-9d33-8572765d592b" providerId="AD" clId="Web-{9DE0ADE9-A0A8-D2EA-1EF2-AD3C089DDA7A}" dt="2023-10-19T17:14:55.464" v="41"/>
        <pc:sldMkLst>
          <pc:docMk/>
          <pc:sldMk cId="749448274" sldId="318"/>
        </pc:sldMkLst>
      </pc:sldChg>
      <pc:sldChg chg="del">
        <pc:chgData name="Eileen Fleming Suse" userId="S::efs3844@ads.northwestern.edu::725c94ef-d051-42d7-9d33-8572765d592b" providerId="AD" clId="Web-{9DE0ADE9-A0A8-D2EA-1EF2-AD3C089DDA7A}" dt="2023-10-19T17:14:55.417" v="33"/>
        <pc:sldMkLst>
          <pc:docMk/>
          <pc:sldMk cId="2641713020" sldId="325"/>
        </pc:sldMkLst>
      </pc:sldChg>
      <pc:sldChg chg="del">
        <pc:chgData name="Eileen Fleming Suse" userId="S::efs3844@ads.northwestern.edu::725c94ef-d051-42d7-9d33-8572765d592b" providerId="AD" clId="Web-{9DE0ADE9-A0A8-D2EA-1EF2-AD3C089DDA7A}" dt="2023-10-19T17:14:28.307" v="7"/>
        <pc:sldMkLst>
          <pc:docMk/>
          <pc:sldMk cId="730283329" sldId="327"/>
        </pc:sldMkLst>
      </pc:sldChg>
      <pc:sldChg chg="del">
        <pc:chgData name="Eileen Fleming Suse" userId="S::efs3844@ads.northwestern.edu::725c94ef-d051-42d7-9d33-8572765d592b" providerId="AD" clId="Web-{9DE0ADE9-A0A8-D2EA-1EF2-AD3C089DDA7A}" dt="2023-10-19T17:14:55.464" v="43"/>
        <pc:sldMkLst>
          <pc:docMk/>
          <pc:sldMk cId="3398525892" sldId="328"/>
        </pc:sldMkLst>
      </pc:sldChg>
      <pc:sldChg chg="del">
        <pc:chgData name="Eileen Fleming Suse" userId="S::efs3844@ads.northwestern.edu::725c94ef-d051-42d7-9d33-8572765d592b" providerId="AD" clId="Web-{9DE0ADE9-A0A8-D2EA-1EF2-AD3C089DDA7A}" dt="2023-10-19T17:14:55.448" v="39"/>
        <pc:sldMkLst>
          <pc:docMk/>
          <pc:sldMk cId="1461223329" sldId="331"/>
        </pc:sldMkLst>
      </pc:sldChg>
      <pc:sldChg chg="del">
        <pc:chgData name="Eileen Fleming Suse" userId="S::efs3844@ads.northwestern.edu::725c94ef-d051-42d7-9d33-8572765d592b" providerId="AD" clId="Web-{9DE0ADE9-A0A8-D2EA-1EF2-AD3C089DDA7A}" dt="2023-10-19T17:14:29.853" v="9"/>
        <pc:sldMkLst>
          <pc:docMk/>
          <pc:sldMk cId="3139445884" sldId="332"/>
        </pc:sldMkLst>
      </pc:sldChg>
      <pc:sldChg chg="del">
        <pc:chgData name="Eileen Fleming Suse" userId="S::efs3844@ads.northwestern.edu::725c94ef-d051-42d7-9d33-8572765d592b" providerId="AD" clId="Web-{9DE0ADE9-A0A8-D2EA-1EF2-AD3C089DDA7A}" dt="2023-10-19T17:14:30.604" v="10"/>
        <pc:sldMkLst>
          <pc:docMk/>
          <pc:sldMk cId="633263341" sldId="333"/>
        </pc:sldMkLst>
      </pc:sldChg>
      <pc:sldChg chg="del">
        <pc:chgData name="Eileen Fleming Suse" userId="S::efs3844@ads.northwestern.edu::725c94ef-d051-42d7-9d33-8572765d592b" providerId="AD" clId="Web-{9DE0ADE9-A0A8-D2EA-1EF2-AD3C089DDA7A}" dt="2023-10-19T17:14:30.619" v="11"/>
        <pc:sldMkLst>
          <pc:docMk/>
          <pc:sldMk cId="609043565" sldId="334"/>
        </pc:sldMkLst>
      </pc:sldChg>
      <pc:sldChg chg="del">
        <pc:chgData name="Eileen Fleming Suse" userId="S::efs3844@ads.northwestern.edu::725c94ef-d051-42d7-9d33-8572765d592b" providerId="AD" clId="Web-{9DE0ADE9-A0A8-D2EA-1EF2-AD3C089DDA7A}" dt="2023-10-19T17:14:30.791" v="12"/>
        <pc:sldMkLst>
          <pc:docMk/>
          <pc:sldMk cId="3127513769" sldId="335"/>
        </pc:sldMkLst>
      </pc:sldChg>
      <pc:sldChg chg="del">
        <pc:chgData name="Eileen Fleming Suse" userId="S::efs3844@ads.northwestern.edu::725c94ef-d051-42d7-9d33-8572765d592b" providerId="AD" clId="Web-{9DE0ADE9-A0A8-D2EA-1EF2-AD3C089DDA7A}" dt="2023-10-19T17:13:45.415" v="0"/>
        <pc:sldMkLst>
          <pc:docMk/>
          <pc:sldMk cId="2155738570" sldId="336"/>
        </pc:sldMkLst>
      </pc:sldChg>
      <pc:sldChg chg="del">
        <pc:chgData name="Eileen Fleming Suse" userId="S::efs3844@ads.northwestern.edu::725c94ef-d051-42d7-9d33-8572765d592b" providerId="AD" clId="Web-{9DE0ADE9-A0A8-D2EA-1EF2-AD3C089DDA7A}" dt="2023-10-19T17:14:29.166" v="8"/>
        <pc:sldMkLst>
          <pc:docMk/>
          <pc:sldMk cId="3482793899" sldId="337"/>
        </pc:sldMkLst>
      </pc:sldChg>
      <pc:sldChg chg="del">
        <pc:chgData name="Eileen Fleming Suse" userId="S::efs3844@ads.northwestern.edu::725c94ef-d051-42d7-9d33-8572765d592b" providerId="AD" clId="Web-{9DE0ADE9-A0A8-D2EA-1EF2-AD3C089DDA7A}" dt="2023-10-19T17:14:55.417" v="37"/>
        <pc:sldMkLst>
          <pc:docMk/>
          <pc:sldMk cId="2871307081" sldId="338"/>
        </pc:sldMkLst>
      </pc:sldChg>
      <pc:sldChg chg="del">
        <pc:chgData name="Eileen Fleming Suse" userId="S::efs3844@ads.northwestern.edu::725c94ef-d051-42d7-9d33-8572765d592b" providerId="AD" clId="Web-{9DE0ADE9-A0A8-D2EA-1EF2-AD3C089DDA7A}" dt="2023-10-19T17:14:32.510" v="14"/>
        <pc:sldMkLst>
          <pc:docMk/>
          <pc:sldMk cId="2459589232" sldId="341"/>
        </pc:sldMkLst>
      </pc:sldChg>
      <pc:sldChg chg="del">
        <pc:chgData name="Eileen Fleming Suse" userId="S::efs3844@ads.northwestern.edu::725c94ef-d051-42d7-9d33-8572765d592b" providerId="AD" clId="Web-{9DE0ADE9-A0A8-D2EA-1EF2-AD3C089DDA7A}" dt="2023-10-19T17:14:45.088" v="25"/>
        <pc:sldMkLst>
          <pc:docMk/>
          <pc:sldMk cId="52189943" sldId="343"/>
        </pc:sldMkLst>
      </pc:sldChg>
      <pc:sldChg chg="del">
        <pc:chgData name="Eileen Fleming Suse" userId="S::efs3844@ads.northwestern.edu::725c94ef-d051-42d7-9d33-8572765d592b" providerId="AD" clId="Web-{9DE0ADE9-A0A8-D2EA-1EF2-AD3C089DDA7A}" dt="2023-10-19T17:14:19.447" v="3"/>
        <pc:sldMkLst>
          <pc:docMk/>
          <pc:sldMk cId="1572642716" sldId="344"/>
        </pc:sldMkLst>
      </pc:sldChg>
      <pc:sldChg chg="del">
        <pc:chgData name="Eileen Fleming Suse" userId="S::efs3844@ads.northwestern.edu::725c94ef-d051-42d7-9d33-8572765d592b" providerId="AD" clId="Web-{9DE0ADE9-A0A8-D2EA-1EF2-AD3C089DDA7A}" dt="2023-10-19T17:14:21.775" v="4"/>
        <pc:sldMkLst>
          <pc:docMk/>
          <pc:sldMk cId="2965993848" sldId="345"/>
        </pc:sldMkLst>
      </pc:sldChg>
      <pc:sldChg chg="del">
        <pc:chgData name="Eileen Fleming Suse" userId="S::efs3844@ads.northwestern.edu::725c94ef-d051-42d7-9d33-8572765d592b" providerId="AD" clId="Web-{9DE0ADE9-A0A8-D2EA-1EF2-AD3C089DDA7A}" dt="2023-10-19T17:14:55.542" v="50"/>
        <pc:sldMkLst>
          <pc:docMk/>
          <pc:sldMk cId="388018185" sldId="346"/>
        </pc:sldMkLst>
      </pc:sldChg>
      <pc:sldChg chg="del">
        <pc:chgData name="Eileen Fleming Suse" userId="S::efs3844@ads.northwestern.edu::725c94ef-d051-42d7-9d33-8572765d592b" providerId="AD" clId="Web-{9DE0ADE9-A0A8-D2EA-1EF2-AD3C089DDA7A}" dt="2023-10-19T17:14:55.464" v="44"/>
        <pc:sldMkLst>
          <pc:docMk/>
          <pc:sldMk cId="4266118864" sldId="347"/>
        </pc:sldMkLst>
      </pc:sldChg>
      <pc:sldChg chg="del">
        <pc:chgData name="Eileen Fleming Suse" userId="S::efs3844@ads.northwestern.edu::725c94ef-d051-42d7-9d33-8572765d592b" providerId="AD" clId="Web-{9DE0ADE9-A0A8-D2EA-1EF2-AD3C089DDA7A}" dt="2023-10-19T17:14:55.464" v="42"/>
        <pc:sldMkLst>
          <pc:docMk/>
          <pc:sldMk cId="1250040188" sldId="348"/>
        </pc:sldMkLst>
      </pc:sldChg>
      <pc:sldChg chg="del">
        <pc:chgData name="Eileen Fleming Suse" userId="S::efs3844@ads.northwestern.edu::725c94ef-d051-42d7-9d33-8572765d592b" providerId="AD" clId="Web-{9DE0ADE9-A0A8-D2EA-1EF2-AD3C089DDA7A}" dt="2023-10-19T17:14:55.464" v="40"/>
        <pc:sldMkLst>
          <pc:docMk/>
          <pc:sldMk cId="3133961592" sldId="352"/>
        </pc:sldMkLst>
      </pc:sldChg>
      <pc:sldChg chg="del">
        <pc:chgData name="Eileen Fleming Suse" userId="S::efs3844@ads.northwestern.edu::725c94ef-d051-42d7-9d33-8572765d592b" providerId="AD" clId="Web-{9DE0ADE9-A0A8-D2EA-1EF2-AD3C089DDA7A}" dt="2023-10-19T17:20:30.896" v="151"/>
        <pc:sldMkLst>
          <pc:docMk/>
          <pc:sldMk cId="330467900" sldId="353"/>
        </pc:sldMkLst>
      </pc:sldChg>
      <pc:sldChg chg="del">
        <pc:chgData name="Eileen Fleming Suse" userId="S::efs3844@ads.northwestern.edu::725c94ef-d051-42d7-9d33-8572765d592b" providerId="AD" clId="Web-{9DE0ADE9-A0A8-D2EA-1EF2-AD3C089DDA7A}" dt="2023-10-19T17:14:33.525" v="15"/>
        <pc:sldMkLst>
          <pc:docMk/>
          <pc:sldMk cId="699425124" sldId="354"/>
        </pc:sldMkLst>
      </pc:sldChg>
      <pc:sldChg chg="del">
        <pc:chgData name="Eileen Fleming Suse" userId="S::efs3844@ads.northwestern.edu::725c94ef-d051-42d7-9d33-8572765d592b" providerId="AD" clId="Web-{9DE0ADE9-A0A8-D2EA-1EF2-AD3C089DDA7A}" dt="2023-10-19T17:14:34.307" v="16"/>
        <pc:sldMkLst>
          <pc:docMk/>
          <pc:sldMk cId="4105287340" sldId="463"/>
        </pc:sldMkLst>
      </pc:sldChg>
      <pc:sldChg chg="del">
        <pc:chgData name="Eileen Fleming Suse" userId="S::efs3844@ads.northwestern.edu::725c94ef-d051-42d7-9d33-8572765d592b" providerId="AD" clId="Web-{9DE0ADE9-A0A8-D2EA-1EF2-AD3C089DDA7A}" dt="2023-10-19T17:14:38.463" v="21"/>
        <pc:sldMkLst>
          <pc:docMk/>
          <pc:sldMk cId="1189510057" sldId="464"/>
        </pc:sldMkLst>
      </pc:sldChg>
      <pc:sldChg chg="del">
        <pc:chgData name="Eileen Fleming Suse" userId="S::efs3844@ads.northwestern.edu::725c94ef-d051-42d7-9d33-8572765d592b" providerId="AD" clId="Web-{9DE0ADE9-A0A8-D2EA-1EF2-AD3C089DDA7A}" dt="2023-10-19T17:20:33.303" v="152"/>
        <pc:sldMkLst>
          <pc:docMk/>
          <pc:sldMk cId="343871943" sldId="465"/>
        </pc:sldMkLst>
      </pc:sldChg>
      <pc:sldChg chg="del">
        <pc:chgData name="Eileen Fleming Suse" userId="S::efs3844@ads.northwestern.edu::725c94ef-d051-42d7-9d33-8572765d592b" providerId="AD" clId="Web-{9DE0ADE9-A0A8-D2EA-1EF2-AD3C089DDA7A}" dt="2023-10-19T17:14:31.541" v="13"/>
        <pc:sldMkLst>
          <pc:docMk/>
          <pc:sldMk cId="3919580005" sldId="524"/>
        </pc:sldMkLst>
      </pc:sldChg>
      <pc:sldChg chg="del">
        <pc:chgData name="Eileen Fleming Suse" userId="S::efs3844@ads.northwestern.edu::725c94ef-d051-42d7-9d33-8572765d592b" providerId="AD" clId="Web-{9DE0ADE9-A0A8-D2EA-1EF2-AD3C089DDA7A}" dt="2023-10-19T17:14:55.573" v="51"/>
        <pc:sldMkLst>
          <pc:docMk/>
          <pc:sldMk cId="2681042564" sldId="539"/>
        </pc:sldMkLst>
      </pc:sldChg>
      <pc:sldChg chg="del">
        <pc:chgData name="Eileen Fleming Suse" userId="S::efs3844@ads.northwestern.edu::725c94ef-d051-42d7-9d33-8572765d592b" providerId="AD" clId="Web-{9DE0ADE9-A0A8-D2EA-1EF2-AD3C089DDA7A}" dt="2023-10-19T17:14:49.120" v="32"/>
        <pc:sldMkLst>
          <pc:docMk/>
          <pc:sldMk cId="135391450" sldId="540"/>
        </pc:sldMkLst>
      </pc:sldChg>
      <pc:sldChg chg="del">
        <pc:chgData name="Eileen Fleming Suse" userId="S::efs3844@ads.northwestern.edu::725c94ef-d051-42d7-9d33-8572765d592b" providerId="AD" clId="Web-{9DE0ADE9-A0A8-D2EA-1EF2-AD3C089DDA7A}" dt="2023-10-19T17:14:55.417" v="36"/>
        <pc:sldMkLst>
          <pc:docMk/>
          <pc:sldMk cId="4191297091" sldId="541"/>
        </pc:sldMkLst>
      </pc:sldChg>
      <pc:sldChg chg="del">
        <pc:chgData name="Eileen Fleming Suse" userId="S::efs3844@ads.northwestern.edu::725c94ef-d051-42d7-9d33-8572765d592b" providerId="AD" clId="Web-{9DE0ADE9-A0A8-D2EA-1EF2-AD3C089DDA7A}" dt="2023-10-19T17:14:55.417" v="34"/>
        <pc:sldMkLst>
          <pc:docMk/>
          <pc:sldMk cId="2724813039" sldId="542"/>
        </pc:sldMkLst>
      </pc:sldChg>
      <pc:sldChg chg="del">
        <pc:chgData name="Eileen Fleming Suse" userId="S::efs3844@ads.northwestern.edu::725c94ef-d051-42d7-9d33-8572765d592b" providerId="AD" clId="Web-{9DE0ADE9-A0A8-D2EA-1EF2-AD3C089DDA7A}" dt="2023-10-19T17:22:12.181" v="194"/>
        <pc:sldMkLst>
          <pc:docMk/>
          <pc:sldMk cId="2874996303" sldId="543"/>
        </pc:sldMkLst>
      </pc:sldChg>
      <pc:sldChg chg="modSp new">
        <pc:chgData name="Eileen Fleming Suse" userId="S::efs3844@ads.northwestern.edu::725c94ef-d051-42d7-9d33-8572765d592b" providerId="AD" clId="Web-{9DE0ADE9-A0A8-D2EA-1EF2-AD3C089DDA7A}" dt="2023-10-19T17:20:46.975" v="157" actId="20577"/>
        <pc:sldMkLst>
          <pc:docMk/>
          <pc:sldMk cId="2351229145" sldId="544"/>
        </pc:sldMkLst>
        <pc:spChg chg="mod">
          <ac:chgData name="Eileen Fleming Suse" userId="S::efs3844@ads.northwestern.edu::725c94ef-d051-42d7-9d33-8572765d592b" providerId="AD" clId="Web-{9DE0ADE9-A0A8-D2EA-1EF2-AD3C089DDA7A}" dt="2023-10-19T17:20:46.975" v="157" actId="20577"/>
          <ac:spMkLst>
            <pc:docMk/>
            <pc:sldMk cId="2351229145" sldId="544"/>
            <ac:spMk id="2" creationId="{545C7D6E-31BC-C716-C845-E52002A3A9B8}"/>
          </ac:spMkLst>
        </pc:spChg>
      </pc:sldChg>
      <pc:sldChg chg="modSp new">
        <pc:chgData name="Eileen Fleming Suse" userId="S::efs3844@ads.northwestern.edu::725c94ef-d051-42d7-9d33-8572765d592b" providerId="AD" clId="Web-{9DE0ADE9-A0A8-D2EA-1EF2-AD3C089DDA7A}" dt="2023-10-19T17:31:31.308" v="221" actId="20577"/>
        <pc:sldMkLst>
          <pc:docMk/>
          <pc:sldMk cId="3635595752" sldId="545"/>
        </pc:sldMkLst>
        <pc:spChg chg="mod">
          <ac:chgData name="Eileen Fleming Suse" userId="S::efs3844@ads.northwestern.edu::725c94ef-d051-42d7-9d33-8572765d592b" providerId="AD" clId="Web-{9DE0ADE9-A0A8-D2EA-1EF2-AD3C089DDA7A}" dt="2023-10-19T17:31:31.308" v="221" actId="20577"/>
          <ac:spMkLst>
            <pc:docMk/>
            <pc:sldMk cId="3635595752" sldId="545"/>
            <ac:spMk id="2" creationId="{39AAB3FF-760A-B654-5F1B-78AD5BEB6B57}"/>
          </ac:spMkLst>
        </pc:spChg>
      </pc:sldChg>
      <pc:sldChg chg="modSp new">
        <pc:chgData name="Eileen Fleming Suse" userId="S::efs3844@ads.northwestern.edu::725c94ef-d051-42d7-9d33-8572765d592b" providerId="AD" clId="Web-{9DE0ADE9-A0A8-D2EA-1EF2-AD3C089DDA7A}" dt="2023-10-19T17:21:35.383" v="174" actId="20577"/>
        <pc:sldMkLst>
          <pc:docMk/>
          <pc:sldMk cId="1036043289" sldId="546"/>
        </pc:sldMkLst>
        <pc:spChg chg="mod">
          <ac:chgData name="Eileen Fleming Suse" userId="S::efs3844@ads.northwestern.edu::725c94ef-d051-42d7-9d33-8572765d592b" providerId="AD" clId="Web-{9DE0ADE9-A0A8-D2EA-1EF2-AD3C089DDA7A}" dt="2023-10-19T17:21:35.383" v="174" actId="20577"/>
          <ac:spMkLst>
            <pc:docMk/>
            <pc:sldMk cId="1036043289" sldId="546"/>
            <ac:spMk id="2" creationId="{67E16CF5-47C8-BEAD-25F8-81514DC0AF8B}"/>
          </ac:spMkLst>
        </pc:spChg>
      </pc:sldChg>
      <pc:sldChg chg="modSp new">
        <pc:chgData name="Eileen Fleming Suse" userId="S::efs3844@ads.northwestern.edu::725c94ef-d051-42d7-9d33-8572765d592b" providerId="AD" clId="Web-{9DE0ADE9-A0A8-D2EA-1EF2-AD3C089DDA7A}" dt="2023-10-19T17:21:45.039" v="180" actId="20577"/>
        <pc:sldMkLst>
          <pc:docMk/>
          <pc:sldMk cId="4024842338" sldId="547"/>
        </pc:sldMkLst>
        <pc:spChg chg="mod">
          <ac:chgData name="Eileen Fleming Suse" userId="S::efs3844@ads.northwestern.edu::725c94ef-d051-42d7-9d33-8572765d592b" providerId="AD" clId="Web-{9DE0ADE9-A0A8-D2EA-1EF2-AD3C089DDA7A}" dt="2023-10-19T17:21:45.039" v="180" actId="20577"/>
          <ac:spMkLst>
            <pc:docMk/>
            <pc:sldMk cId="4024842338" sldId="547"/>
            <ac:spMk id="2" creationId="{D3E8E3F8-686B-F051-66F8-5F0BEC66ED61}"/>
          </ac:spMkLst>
        </pc:spChg>
      </pc:sldChg>
      <pc:sldChg chg="modSp new">
        <pc:chgData name="Eileen Fleming Suse" userId="S::efs3844@ads.northwestern.edu::725c94ef-d051-42d7-9d33-8572765d592b" providerId="AD" clId="Web-{9DE0ADE9-A0A8-D2EA-1EF2-AD3C089DDA7A}" dt="2023-10-19T17:21:59.868" v="193" actId="20577"/>
        <pc:sldMkLst>
          <pc:docMk/>
          <pc:sldMk cId="3745706804" sldId="548"/>
        </pc:sldMkLst>
        <pc:spChg chg="mod">
          <ac:chgData name="Eileen Fleming Suse" userId="S::efs3844@ads.northwestern.edu::725c94ef-d051-42d7-9d33-8572765d592b" providerId="AD" clId="Web-{9DE0ADE9-A0A8-D2EA-1EF2-AD3C089DDA7A}" dt="2023-10-19T17:21:59.868" v="193" actId="20577"/>
          <ac:spMkLst>
            <pc:docMk/>
            <pc:sldMk cId="3745706804" sldId="548"/>
            <ac:spMk id="2" creationId="{C2B429CC-FC8C-ECA7-15C8-7563C27BFB95}"/>
          </ac:spMkLst>
        </pc:spChg>
      </pc:sldChg>
      <pc:sldChg chg="modSp new">
        <pc:chgData name="Eileen Fleming Suse" userId="S::efs3844@ads.northwestern.edu::725c94ef-d051-42d7-9d33-8572765d592b" providerId="AD" clId="Web-{9DE0ADE9-A0A8-D2EA-1EF2-AD3C089DDA7A}" dt="2023-10-19T17:22:57.260" v="218" actId="20577"/>
        <pc:sldMkLst>
          <pc:docMk/>
          <pc:sldMk cId="3962270618" sldId="549"/>
        </pc:sldMkLst>
        <pc:spChg chg="mod">
          <ac:chgData name="Eileen Fleming Suse" userId="S::efs3844@ads.northwestern.edu::725c94ef-d051-42d7-9d33-8572765d592b" providerId="AD" clId="Web-{9DE0ADE9-A0A8-D2EA-1EF2-AD3C089DDA7A}" dt="2023-10-19T17:22:57.260" v="218" actId="20577"/>
          <ac:spMkLst>
            <pc:docMk/>
            <pc:sldMk cId="3962270618" sldId="549"/>
            <ac:spMk id="2" creationId="{D2A51686-B2DC-CDBE-63AE-C97B6B0DBD66}"/>
          </ac:spMkLst>
        </pc:spChg>
      </pc:sldChg>
      <pc:sldChg chg="add">
        <pc:chgData name="Eileen Fleming Suse" userId="S::efs3844@ads.northwestern.edu::725c94ef-d051-42d7-9d33-8572765d592b" providerId="AD" clId="Web-{9DE0ADE9-A0A8-D2EA-1EF2-AD3C089DDA7A}" dt="2023-10-19T17:41:57.671" v="222"/>
        <pc:sldMkLst>
          <pc:docMk/>
          <pc:sldMk cId="3472964082" sldId="550"/>
        </pc:sldMkLst>
      </pc:sldChg>
      <pc:sldChg chg="add">
        <pc:chgData name="Eileen Fleming Suse" userId="S::efs3844@ads.northwestern.edu::725c94ef-d051-42d7-9d33-8572765d592b" providerId="AD" clId="Web-{9DE0ADE9-A0A8-D2EA-1EF2-AD3C089DDA7A}" dt="2023-10-19T17:41:58.437" v="223"/>
        <pc:sldMkLst>
          <pc:docMk/>
          <pc:sldMk cId="2562283095" sldId="551"/>
        </pc:sldMkLst>
      </pc:sldChg>
      <pc:sldMasterChg chg="add addSldLayout">
        <pc:chgData name="Eileen Fleming Suse" userId="S::efs3844@ads.northwestern.edu::725c94ef-d051-42d7-9d33-8572765d592b" providerId="AD" clId="Web-{9DE0ADE9-A0A8-D2EA-1EF2-AD3C089DDA7A}" dt="2023-10-19T17:41:57.671" v="222"/>
        <pc:sldMasterMkLst>
          <pc:docMk/>
          <pc:sldMasterMk cId="0" sldId="2147483648"/>
        </pc:sldMasterMkLst>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49"/>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0"/>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1"/>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2"/>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3"/>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4"/>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5"/>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6"/>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7"/>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8"/>
          </pc:sldLayoutMkLst>
        </pc:sldLayoutChg>
        <pc:sldLayoutChg chg="add">
          <pc:chgData name="Eileen Fleming Suse" userId="S::efs3844@ads.northwestern.edu::725c94ef-d051-42d7-9d33-8572765d592b" providerId="AD" clId="Web-{9DE0ADE9-A0A8-D2EA-1EF2-AD3C089DDA7A}" dt="2023-10-19T17:41:57.671" v="222"/>
          <pc:sldLayoutMkLst>
            <pc:docMk/>
            <pc:sldMasterMk cId="0" sldId="2147483648"/>
            <pc:sldLayoutMk cId="0" sldId="2147483659"/>
          </pc:sldLayoutMkLst>
        </pc:sldLayoutChg>
      </pc:sldMasterChg>
    </pc:docChg>
  </pc:docChgLst>
  <pc:docChgLst>
    <pc:chgData name="Eileen Fleming Suse" userId="S::efs3844@ads.northwestern.edu::725c94ef-d051-42d7-9d33-8572765d592b" providerId="AD" clId="Web-{C766F19B-0830-AB8B-3618-23EF0AC64A24}"/>
    <pc:docChg chg="modSld">
      <pc:chgData name="Eileen Fleming Suse" userId="S::efs3844@ads.northwestern.edu::725c94ef-d051-42d7-9d33-8572765d592b" providerId="AD" clId="Web-{C766F19B-0830-AB8B-3618-23EF0AC64A24}" dt="2023-10-30T15:49:33.394" v="37"/>
      <pc:docMkLst>
        <pc:docMk/>
      </pc:docMkLst>
      <pc:sldChg chg="addSp delSp modSp">
        <pc:chgData name="Eileen Fleming Suse" userId="S::efs3844@ads.northwestern.edu::725c94ef-d051-42d7-9d33-8572765d592b" providerId="AD" clId="Web-{C766F19B-0830-AB8B-3618-23EF0AC64A24}" dt="2023-10-30T15:49:33.394" v="37"/>
        <pc:sldMkLst>
          <pc:docMk/>
          <pc:sldMk cId="3472964082" sldId="550"/>
        </pc:sldMkLst>
        <pc:spChg chg="mod">
          <ac:chgData name="Eileen Fleming Suse" userId="S::efs3844@ads.northwestern.edu::725c94ef-d051-42d7-9d33-8572765d592b" providerId="AD" clId="Web-{C766F19B-0830-AB8B-3618-23EF0AC64A24}" dt="2023-10-30T15:48:12.563" v="25" actId="20577"/>
          <ac:spMkLst>
            <pc:docMk/>
            <pc:sldMk cId="3472964082" sldId="550"/>
            <ac:spMk id="20" creationId="{00000000-0000-0000-0000-000000000000}"/>
          </ac:spMkLst>
        </pc:spChg>
        <pc:spChg chg="del">
          <ac:chgData name="Eileen Fleming Suse" userId="S::efs3844@ads.northwestern.edu::725c94ef-d051-42d7-9d33-8572765d592b" providerId="AD" clId="Web-{C766F19B-0830-AB8B-3618-23EF0AC64A24}" dt="2023-10-30T15:48:44.971" v="28"/>
          <ac:spMkLst>
            <pc:docMk/>
            <pc:sldMk cId="3472964082" sldId="550"/>
            <ac:spMk id="21" creationId="{00000000-0000-0000-0000-000000000000}"/>
          </ac:spMkLst>
        </pc:spChg>
        <pc:spChg chg="mod">
          <ac:chgData name="Eileen Fleming Suse" userId="S::efs3844@ads.northwestern.edu::725c94ef-d051-42d7-9d33-8572765d592b" providerId="AD" clId="Web-{C766F19B-0830-AB8B-3618-23EF0AC64A24}" dt="2023-10-30T15:48:45.111" v="30" actId="20577"/>
          <ac:spMkLst>
            <pc:docMk/>
            <pc:sldMk cId="3472964082" sldId="550"/>
            <ac:spMk id="23" creationId="{00000000-0000-0000-0000-000000000000}"/>
          </ac:spMkLst>
        </pc:spChg>
        <pc:spChg chg="del">
          <ac:chgData name="Eileen Fleming Suse" userId="S::efs3844@ads.northwestern.edu::725c94ef-d051-42d7-9d33-8572765d592b" providerId="AD" clId="Web-{C766F19B-0830-AB8B-3618-23EF0AC64A24}" dt="2023-10-30T15:48:45.330" v="31"/>
          <ac:spMkLst>
            <pc:docMk/>
            <pc:sldMk cId="3472964082" sldId="550"/>
            <ac:spMk id="24" creationId="{00000000-0000-0000-0000-000000000000}"/>
          </ac:spMkLst>
        </pc:spChg>
        <pc:spChg chg="add del">
          <ac:chgData name="Eileen Fleming Suse" userId="S::efs3844@ads.northwestern.edu::725c94ef-d051-42d7-9d33-8572765d592b" providerId="AD" clId="Web-{C766F19B-0830-AB8B-3618-23EF0AC64A24}" dt="2023-10-30T15:49:33.394" v="37"/>
          <ac:spMkLst>
            <pc:docMk/>
            <pc:sldMk cId="3472964082" sldId="550"/>
            <ac:spMk id="31" creationId="{00000000-0000-0000-0000-000000000000}"/>
          </ac:spMkLst>
        </pc:spChg>
        <pc:spChg chg="mod">
          <ac:chgData name="Eileen Fleming Suse" userId="S::efs3844@ads.northwestern.edu::725c94ef-d051-42d7-9d33-8572765d592b" providerId="AD" clId="Web-{C766F19B-0830-AB8B-3618-23EF0AC64A24}" dt="2023-10-30T15:48:22.704" v="26" actId="20577"/>
          <ac:spMkLst>
            <pc:docMk/>
            <pc:sldMk cId="3472964082" sldId="550"/>
            <ac:spMk id="51" creationId="{00000000-0000-0000-0000-000000000000}"/>
          </ac:spMkLst>
        </pc:spChg>
        <pc:spChg chg="del">
          <ac:chgData name="Eileen Fleming Suse" userId="S::efs3844@ads.northwestern.edu::725c94ef-d051-42d7-9d33-8572765d592b" providerId="AD" clId="Web-{C766F19B-0830-AB8B-3618-23EF0AC64A24}" dt="2023-10-30T15:48:34.767" v="27"/>
          <ac:spMkLst>
            <pc:docMk/>
            <pc:sldMk cId="3472964082" sldId="550"/>
            <ac:spMk id="52" creationId="{00000000-0000-0000-0000-000000000000}"/>
          </ac:spMkLst>
        </pc:spChg>
        <pc:spChg chg="mod">
          <ac:chgData name="Eileen Fleming Suse" userId="S::efs3844@ads.northwestern.edu::725c94ef-d051-42d7-9d33-8572765d592b" providerId="AD" clId="Web-{C766F19B-0830-AB8B-3618-23EF0AC64A24}" dt="2023-10-30T15:49:04.456" v="33" actId="20577"/>
          <ac:spMkLst>
            <pc:docMk/>
            <pc:sldMk cId="3472964082" sldId="550"/>
            <ac:spMk id="53" creationId="{00000000-0000-0000-0000-000000000000}"/>
          </ac:spMkLst>
        </pc:spChg>
        <pc:spChg chg="del mod">
          <ac:chgData name="Eileen Fleming Suse" userId="S::efs3844@ads.northwestern.edu::725c94ef-d051-42d7-9d33-8572765d592b" providerId="AD" clId="Web-{C766F19B-0830-AB8B-3618-23EF0AC64A24}" dt="2023-10-30T15:49:33.300" v="35"/>
          <ac:spMkLst>
            <pc:docMk/>
            <pc:sldMk cId="3472964082" sldId="550"/>
            <ac:spMk id="54" creationId="{00000000-0000-0000-0000-000000000000}"/>
          </ac:spMkLst>
        </pc:spChg>
      </pc:sldChg>
      <pc:sldChg chg="addSp delSp modSp">
        <pc:chgData name="Eileen Fleming Suse" userId="S::efs3844@ads.northwestern.edu::725c94ef-d051-42d7-9d33-8572765d592b" providerId="AD" clId="Web-{C766F19B-0830-AB8B-3618-23EF0AC64A24}" dt="2023-10-30T15:48:02.782" v="23"/>
        <pc:sldMkLst>
          <pc:docMk/>
          <pc:sldMk cId="2562283095" sldId="551"/>
        </pc:sldMkLst>
        <pc:spChg chg="mod">
          <ac:chgData name="Eileen Fleming Suse" userId="S::efs3844@ads.northwestern.edu::725c94ef-d051-42d7-9d33-8572765d592b" providerId="AD" clId="Web-{C766F19B-0830-AB8B-3618-23EF0AC64A24}" dt="2023-10-30T15:46:33.904" v="3" actId="20577"/>
          <ac:spMkLst>
            <pc:docMk/>
            <pc:sldMk cId="2562283095" sldId="551"/>
            <ac:spMk id="20" creationId="{00000000-0000-0000-0000-000000000000}"/>
          </ac:spMkLst>
        </pc:spChg>
        <pc:spChg chg="del">
          <ac:chgData name="Eileen Fleming Suse" userId="S::efs3844@ads.northwestern.edu::725c94ef-d051-42d7-9d33-8572765d592b" providerId="AD" clId="Web-{C766F19B-0830-AB8B-3618-23EF0AC64A24}" dt="2023-10-30T15:46:34.139" v="4"/>
          <ac:spMkLst>
            <pc:docMk/>
            <pc:sldMk cId="2562283095" sldId="551"/>
            <ac:spMk id="21" creationId="{00000000-0000-0000-0000-000000000000}"/>
          </ac:spMkLst>
        </pc:spChg>
        <pc:spChg chg="mod">
          <ac:chgData name="Eileen Fleming Suse" userId="S::efs3844@ads.northwestern.edu::725c94ef-d051-42d7-9d33-8572765d592b" providerId="AD" clId="Web-{C766F19B-0830-AB8B-3618-23EF0AC64A24}" dt="2023-10-30T15:46:45.264" v="13" actId="20577"/>
          <ac:spMkLst>
            <pc:docMk/>
            <pc:sldMk cId="2562283095" sldId="551"/>
            <ac:spMk id="23" creationId="{00000000-0000-0000-0000-000000000000}"/>
          </ac:spMkLst>
        </pc:spChg>
        <pc:spChg chg="add del mod">
          <ac:chgData name="Eileen Fleming Suse" userId="S::efs3844@ads.northwestern.edu::725c94ef-d051-42d7-9d33-8572765d592b" providerId="AD" clId="Web-{C766F19B-0830-AB8B-3618-23EF0AC64A24}" dt="2023-10-30T15:47:13.812" v="15"/>
          <ac:spMkLst>
            <pc:docMk/>
            <pc:sldMk cId="2562283095" sldId="551"/>
            <ac:spMk id="24" creationId="{00000000-0000-0000-0000-000000000000}"/>
          </ac:spMkLst>
        </pc:spChg>
        <pc:spChg chg="mod">
          <ac:chgData name="Eileen Fleming Suse" userId="S::efs3844@ads.northwestern.edu::725c94ef-d051-42d7-9d33-8572765d592b" providerId="AD" clId="Web-{C766F19B-0830-AB8B-3618-23EF0AC64A24}" dt="2023-10-30T15:47:42.781" v="22" actId="20577"/>
          <ac:spMkLst>
            <pc:docMk/>
            <pc:sldMk cId="2562283095" sldId="551"/>
            <ac:spMk id="31" creationId="{00000000-0000-0000-0000-000000000000}"/>
          </ac:spMkLst>
        </pc:spChg>
        <pc:spChg chg="del">
          <ac:chgData name="Eileen Fleming Suse" userId="S::efs3844@ads.northwestern.edu::725c94ef-d051-42d7-9d33-8572765d592b" providerId="AD" clId="Web-{C766F19B-0830-AB8B-3618-23EF0AC64A24}" dt="2023-10-30T15:48:02.782" v="23"/>
          <ac:spMkLst>
            <pc:docMk/>
            <pc:sldMk cId="2562283095" sldId="551"/>
            <ac:spMk id="32" creationId="{00000000-0000-0000-0000-000000000000}"/>
          </ac:spMkLst>
        </pc:spChg>
        <pc:spChg chg="mod">
          <ac:chgData name="Eileen Fleming Suse" userId="S::efs3844@ads.northwestern.edu::725c94ef-d051-42d7-9d33-8572765d592b" providerId="AD" clId="Web-{C766F19B-0830-AB8B-3618-23EF0AC64A24}" dt="2023-10-30T15:46:34.373" v="6" actId="20577"/>
          <ac:spMkLst>
            <pc:docMk/>
            <pc:sldMk cId="2562283095" sldId="551"/>
            <ac:spMk id="51" creationId="{00000000-0000-0000-0000-000000000000}"/>
          </ac:spMkLst>
        </pc:spChg>
        <pc:spChg chg="del">
          <ac:chgData name="Eileen Fleming Suse" userId="S::efs3844@ads.northwestern.edu::725c94ef-d051-42d7-9d33-8572765d592b" providerId="AD" clId="Web-{C766F19B-0830-AB8B-3618-23EF0AC64A24}" dt="2023-10-30T15:46:34.482" v="7"/>
          <ac:spMkLst>
            <pc:docMk/>
            <pc:sldMk cId="2562283095" sldId="551"/>
            <ac:spMk id="52" creationId="{00000000-0000-0000-0000-000000000000}"/>
          </ac:spMkLst>
        </pc:spChg>
        <pc:spChg chg="mod">
          <ac:chgData name="Eileen Fleming Suse" userId="S::efs3844@ads.northwestern.edu::725c94ef-d051-42d7-9d33-8572765d592b" providerId="AD" clId="Web-{C766F19B-0830-AB8B-3618-23EF0AC64A24}" dt="2023-10-30T15:47:14.015" v="18" actId="20577"/>
          <ac:spMkLst>
            <pc:docMk/>
            <pc:sldMk cId="2562283095" sldId="551"/>
            <ac:spMk id="53" creationId="{00000000-0000-0000-0000-000000000000}"/>
          </ac:spMkLst>
        </pc:spChg>
        <pc:spChg chg="del">
          <ac:chgData name="Eileen Fleming Suse" userId="S::efs3844@ads.northwestern.edu::725c94ef-d051-42d7-9d33-8572765d592b" providerId="AD" clId="Web-{C766F19B-0830-AB8B-3618-23EF0AC64A24}" dt="2023-10-30T15:47:33.031" v="19"/>
          <ac:spMkLst>
            <pc:docMk/>
            <pc:sldMk cId="2562283095" sldId="551"/>
            <ac:spMk id="54" creationId="{00000000-0000-0000-0000-000000000000}"/>
          </ac:spMkLst>
        </pc:spChg>
      </pc:sldChg>
    </pc:docChg>
  </pc:docChgLst>
  <pc:docChgLst>
    <pc:chgData name="Eileen Fleming Suse" userId="S::efs3844@ads.northwestern.edu::725c94ef-d051-42d7-9d33-8572765d592b" providerId="AD" clId="Web-{27D417B1-AC1D-5613-774C-09BCD51B442A}"/>
    <pc:docChg chg="addSld delSld modSld sldOrd">
      <pc:chgData name="Eileen Fleming Suse" userId="S::efs3844@ads.northwestern.edu::725c94ef-d051-42d7-9d33-8572765d592b" providerId="AD" clId="Web-{27D417B1-AC1D-5613-774C-09BCD51B442A}" dt="2023-11-20T15:57:10.100" v="150" actId="20577"/>
      <pc:docMkLst>
        <pc:docMk/>
      </pc:docMkLst>
      <pc:sldChg chg="modSp">
        <pc:chgData name="Eileen Fleming Suse" userId="S::efs3844@ads.northwestern.edu::725c94ef-d051-42d7-9d33-8572765d592b" providerId="AD" clId="Web-{27D417B1-AC1D-5613-774C-09BCD51B442A}" dt="2023-11-20T15:49:46.887" v="131" actId="20577"/>
        <pc:sldMkLst>
          <pc:docMk/>
          <pc:sldMk cId="4044691067" sldId="283"/>
        </pc:sldMkLst>
        <pc:spChg chg="mod">
          <ac:chgData name="Eileen Fleming Suse" userId="S::efs3844@ads.northwestern.edu::725c94ef-d051-42d7-9d33-8572765d592b" providerId="AD" clId="Web-{27D417B1-AC1D-5613-774C-09BCD51B442A}" dt="2023-11-20T15:49:46.887" v="131"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27D417B1-AC1D-5613-774C-09BCD51B442A}" dt="2023-11-20T15:38:26.622" v="125" actId="1076"/>
        <pc:sldMkLst>
          <pc:docMk/>
          <pc:sldMk cId="97208790" sldId="723"/>
        </pc:sldMkLst>
        <pc:spChg chg="mod">
          <ac:chgData name="Eileen Fleming Suse" userId="S::efs3844@ads.northwestern.edu::725c94ef-d051-42d7-9d33-8572765d592b" providerId="AD" clId="Web-{27D417B1-AC1D-5613-774C-09BCD51B442A}" dt="2023-11-20T15:38:26.622" v="125" actId="1076"/>
          <ac:spMkLst>
            <pc:docMk/>
            <pc:sldMk cId="97208790" sldId="723"/>
            <ac:spMk id="8" creationId="{24CD5883-74F0-901B-1AE1-A53D4170658C}"/>
          </ac:spMkLst>
        </pc:spChg>
        <pc:spChg chg="mod">
          <ac:chgData name="Eileen Fleming Suse" userId="S::efs3844@ads.northwestern.edu::725c94ef-d051-42d7-9d33-8572765d592b" providerId="AD" clId="Web-{27D417B1-AC1D-5613-774C-09BCD51B442A}" dt="2023-11-20T15:38:26.575" v="124" actId="1076"/>
          <ac:spMkLst>
            <pc:docMk/>
            <pc:sldMk cId="97208790" sldId="723"/>
            <ac:spMk id="10" creationId="{8BCC0F5C-3791-38AB-6A34-E5D5FCAACFCB}"/>
          </ac:spMkLst>
        </pc:spChg>
      </pc:sldChg>
      <pc:sldChg chg="modSp">
        <pc:chgData name="Eileen Fleming Suse" userId="S::efs3844@ads.northwestern.edu::725c94ef-d051-42d7-9d33-8572765d592b" providerId="AD" clId="Web-{27D417B1-AC1D-5613-774C-09BCD51B442A}" dt="2023-11-20T15:48:31.322" v="126" actId="14100"/>
        <pc:sldMkLst>
          <pc:docMk/>
          <pc:sldMk cId="1390059426" sldId="726"/>
        </pc:sldMkLst>
        <pc:spChg chg="mod">
          <ac:chgData name="Eileen Fleming Suse" userId="S::efs3844@ads.northwestern.edu::725c94ef-d051-42d7-9d33-8572765d592b" providerId="AD" clId="Web-{27D417B1-AC1D-5613-774C-09BCD51B442A}" dt="2023-11-20T15:48:31.322" v="126" actId="14100"/>
          <ac:spMkLst>
            <pc:docMk/>
            <pc:sldMk cId="1390059426" sldId="726"/>
            <ac:spMk id="19" creationId="{F49C1F1A-614A-5749-1A3F-78980B65ADBC}"/>
          </ac:spMkLst>
        </pc:spChg>
        <pc:spChg chg="mod">
          <ac:chgData name="Eileen Fleming Suse" userId="S::efs3844@ads.northwestern.edu::725c94ef-d051-42d7-9d33-8572765d592b" providerId="AD" clId="Web-{27D417B1-AC1D-5613-774C-09BCD51B442A}" dt="2023-11-20T15:37:53.512" v="121" actId="20577"/>
          <ac:spMkLst>
            <pc:docMk/>
            <pc:sldMk cId="1390059426" sldId="726"/>
            <ac:spMk id="25" creationId="{6DD46D80-F576-4F56-C047-1645F85E88F8}"/>
          </ac:spMkLst>
        </pc:spChg>
        <pc:spChg chg="mod">
          <ac:chgData name="Eileen Fleming Suse" userId="S::efs3844@ads.northwestern.edu::725c94ef-d051-42d7-9d33-8572765d592b" providerId="AD" clId="Web-{27D417B1-AC1D-5613-774C-09BCD51B442A}" dt="2023-11-20T15:38:04.715" v="123" actId="20577"/>
          <ac:spMkLst>
            <pc:docMk/>
            <pc:sldMk cId="1390059426" sldId="726"/>
            <ac:spMk id="26" creationId="{585B113D-37B0-A626-E412-E3D462910528}"/>
          </ac:spMkLst>
        </pc:spChg>
      </pc:sldChg>
      <pc:sldChg chg="modSp">
        <pc:chgData name="Eileen Fleming Suse" userId="S::efs3844@ads.northwestern.edu::725c94ef-d051-42d7-9d33-8572765d592b" providerId="AD" clId="Web-{27D417B1-AC1D-5613-774C-09BCD51B442A}" dt="2023-11-20T15:48:42.401" v="127" actId="14100"/>
        <pc:sldMkLst>
          <pc:docMk/>
          <pc:sldMk cId="3339906105" sldId="727"/>
        </pc:sldMkLst>
        <pc:spChg chg="mod">
          <ac:chgData name="Eileen Fleming Suse" userId="S::efs3844@ads.northwestern.edu::725c94ef-d051-42d7-9d33-8572765d592b" providerId="AD" clId="Web-{27D417B1-AC1D-5613-774C-09BCD51B442A}" dt="2023-11-20T15:48:42.401" v="127" actId="14100"/>
          <ac:spMkLst>
            <pc:docMk/>
            <pc:sldMk cId="3339906105" sldId="727"/>
            <ac:spMk id="19" creationId="{F49C1F1A-614A-5749-1A3F-78980B65ADBC}"/>
          </ac:spMkLst>
        </pc:spChg>
        <pc:spChg chg="mod">
          <ac:chgData name="Eileen Fleming Suse" userId="S::efs3844@ads.northwestern.edu::725c94ef-d051-42d7-9d33-8572765d592b" providerId="AD" clId="Web-{27D417B1-AC1D-5613-774C-09BCD51B442A}" dt="2023-11-20T15:37:52.715" v="114" actId="20577"/>
          <ac:spMkLst>
            <pc:docMk/>
            <pc:sldMk cId="3339906105" sldId="727"/>
            <ac:spMk id="25" creationId="{6DD46D80-F576-4F56-C047-1645F85E88F8}"/>
          </ac:spMkLst>
        </pc:spChg>
        <pc:spChg chg="mod">
          <ac:chgData name="Eileen Fleming Suse" userId="S::efs3844@ads.northwestern.edu::725c94ef-d051-42d7-9d33-8572765d592b" providerId="AD" clId="Web-{27D417B1-AC1D-5613-774C-09BCD51B442A}" dt="2023-11-20T15:37:53.230" v="118" actId="20577"/>
          <ac:spMkLst>
            <pc:docMk/>
            <pc:sldMk cId="3339906105" sldId="727"/>
            <ac:spMk id="26" creationId="{585B113D-37B0-A626-E412-E3D462910528}"/>
          </ac:spMkLst>
        </pc:spChg>
      </pc:sldChg>
      <pc:sldChg chg="modSp">
        <pc:chgData name="Eileen Fleming Suse" userId="S::efs3844@ads.northwestern.edu::725c94ef-d051-42d7-9d33-8572765d592b" providerId="AD" clId="Web-{27D417B1-AC1D-5613-774C-09BCD51B442A}" dt="2023-11-20T15:37:42.293" v="112" actId="20577"/>
        <pc:sldMkLst>
          <pc:docMk/>
          <pc:sldMk cId="2917591221" sldId="728"/>
        </pc:sldMkLst>
        <pc:spChg chg="mod">
          <ac:chgData name="Eileen Fleming Suse" userId="S::efs3844@ads.northwestern.edu::725c94ef-d051-42d7-9d33-8572765d592b" providerId="AD" clId="Web-{27D417B1-AC1D-5613-774C-09BCD51B442A}" dt="2023-11-20T15:37:42.293" v="112" actId="20577"/>
          <ac:spMkLst>
            <pc:docMk/>
            <pc:sldMk cId="2917591221" sldId="728"/>
            <ac:spMk id="7" creationId="{9D897086-E6BA-012D-1320-EFFEB9FABF03}"/>
          </ac:spMkLst>
        </pc:spChg>
        <pc:spChg chg="mod">
          <ac:chgData name="Eileen Fleming Suse" userId="S::efs3844@ads.northwestern.edu::725c94ef-d051-42d7-9d33-8572765d592b" providerId="AD" clId="Web-{27D417B1-AC1D-5613-774C-09BCD51B442A}" dt="2023-11-20T15:37:17.620" v="107" actId="14100"/>
          <ac:spMkLst>
            <pc:docMk/>
            <pc:sldMk cId="2917591221" sldId="728"/>
            <ac:spMk id="51" creationId="{2B8C1492-BA4C-5D85-9326-D4D3751E6D7D}"/>
          </ac:spMkLst>
        </pc:spChg>
      </pc:sldChg>
      <pc:sldChg chg="del">
        <pc:chgData name="Eileen Fleming Suse" userId="S::efs3844@ads.northwestern.edu::725c94ef-d051-42d7-9d33-8572765d592b" providerId="AD" clId="Web-{27D417B1-AC1D-5613-774C-09BCD51B442A}" dt="2023-11-20T15:29:53.798" v="2"/>
        <pc:sldMkLst>
          <pc:docMk/>
          <pc:sldMk cId="3917006652" sldId="748"/>
        </pc:sldMkLst>
      </pc:sldChg>
      <pc:sldChg chg="modSp new ord">
        <pc:chgData name="Eileen Fleming Suse" userId="S::efs3844@ads.northwestern.edu::725c94ef-d051-42d7-9d33-8572765d592b" providerId="AD" clId="Web-{27D417B1-AC1D-5613-774C-09BCD51B442A}" dt="2023-11-20T15:36:59.401" v="100" actId="20577"/>
        <pc:sldMkLst>
          <pc:docMk/>
          <pc:sldMk cId="2760953721" sldId="749"/>
        </pc:sldMkLst>
        <pc:spChg chg="mod">
          <ac:chgData name="Eileen Fleming Suse" userId="S::efs3844@ads.northwestern.edu::725c94ef-d051-42d7-9d33-8572765d592b" providerId="AD" clId="Web-{27D417B1-AC1D-5613-774C-09BCD51B442A}" dt="2023-11-20T15:30:08.329" v="5" actId="20577"/>
          <ac:spMkLst>
            <pc:docMk/>
            <pc:sldMk cId="2760953721" sldId="749"/>
            <ac:spMk id="2" creationId="{74AC9D71-8472-37B2-2DA4-37F1220693E5}"/>
          </ac:spMkLst>
        </pc:spChg>
        <pc:spChg chg="mod">
          <ac:chgData name="Eileen Fleming Suse" userId="S::efs3844@ads.northwestern.edu::725c94ef-d051-42d7-9d33-8572765d592b" providerId="AD" clId="Web-{27D417B1-AC1D-5613-774C-09BCD51B442A}" dt="2023-11-20T15:36:59.401" v="100" actId="20577"/>
          <ac:spMkLst>
            <pc:docMk/>
            <pc:sldMk cId="2760953721" sldId="749"/>
            <ac:spMk id="3" creationId="{84541AC5-1E3B-8499-5879-C2F1A0A6D43C}"/>
          </ac:spMkLst>
        </pc:spChg>
      </pc:sldChg>
      <pc:sldChg chg="addSp delSp modSp new mod setBg">
        <pc:chgData name="Eileen Fleming Suse" userId="S::efs3844@ads.northwestern.edu::725c94ef-d051-42d7-9d33-8572765d592b" providerId="AD" clId="Web-{27D417B1-AC1D-5613-774C-09BCD51B442A}" dt="2023-11-20T15:57:10.100" v="150" actId="20577"/>
        <pc:sldMkLst>
          <pc:docMk/>
          <pc:sldMk cId="1123896291" sldId="750"/>
        </pc:sldMkLst>
        <pc:spChg chg="mod">
          <ac:chgData name="Eileen Fleming Suse" userId="S::efs3844@ads.northwestern.edu::725c94ef-d051-42d7-9d33-8572765d592b" providerId="AD" clId="Web-{27D417B1-AC1D-5613-774C-09BCD51B442A}" dt="2023-11-20T15:57:10.100" v="150" actId="20577"/>
          <ac:spMkLst>
            <pc:docMk/>
            <pc:sldMk cId="1123896291" sldId="750"/>
            <ac:spMk id="2" creationId="{4A8D5212-512B-94C8-CCF1-6B6881A37D96}"/>
          </ac:spMkLst>
        </pc:spChg>
        <pc:spChg chg="del">
          <ac:chgData name="Eileen Fleming Suse" userId="S::efs3844@ads.northwestern.edu::725c94ef-d051-42d7-9d33-8572765d592b" providerId="AD" clId="Web-{27D417B1-AC1D-5613-774C-09BCD51B442A}" dt="2023-11-20T15:55:41.535" v="134"/>
          <ac:spMkLst>
            <pc:docMk/>
            <pc:sldMk cId="1123896291" sldId="750"/>
            <ac:spMk id="3" creationId="{2D4DD92E-2259-317A-D4C7-1EEAB44E8B2A}"/>
          </ac:spMkLst>
        </pc:spChg>
        <pc:spChg chg="mod ord">
          <ac:chgData name="Eileen Fleming Suse" userId="S::efs3844@ads.northwestern.edu::725c94ef-d051-42d7-9d33-8572765d592b" providerId="AD" clId="Web-{27D417B1-AC1D-5613-774C-09BCD51B442A}" dt="2023-11-20T15:55:41.535" v="134"/>
          <ac:spMkLst>
            <pc:docMk/>
            <pc:sldMk cId="1123896291" sldId="750"/>
            <ac:spMk id="4" creationId="{8DB75264-273F-4605-2A91-81ECE1A7E3C2}"/>
          </ac:spMkLst>
        </pc:spChg>
        <pc:spChg chg="mod">
          <ac:chgData name="Eileen Fleming Suse" userId="S::efs3844@ads.northwestern.edu::725c94ef-d051-42d7-9d33-8572765d592b" providerId="AD" clId="Web-{27D417B1-AC1D-5613-774C-09BCD51B442A}" dt="2023-11-20T15:55:41.535" v="134"/>
          <ac:spMkLst>
            <pc:docMk/>
            <pc:sldMk cId="1123896291" sldId="750"/>
            <ac:spMk id="5" creationId="{D7979332-6D70-E77E-398C-79FEE378C255}"/>
          </ac:spMkLst>
        </pc:spChg>
        <pc:spChg chg="add">
          <ac:chgData name="Eileen Fleming Suse" userId="S::efs3844@ads.northwestern.edu::725c94ef-d051-42d7-9d33-8572765d592b" providerId="AD" clId="Web-{27D417B1-AC1D-5613-774C-09BCD51B442A}" dt="2023-11-20T15:55:41.535" v="134"/>
          <ac:spMkLst>
            <pc:docMk/>
            <pc:sldMk cId="1123896291" sldId="750"/>
            <ac:spMk id="11" creationId="{0671A8AE-40A1-4631-A6B8-581AFF065482}"/>
          </ac:spMkLst>
        </pc:spChg>
        <pc:spChg chg="add">
          <ac:chgData name="Eileen Fleming Suse" userId="S::efs3844@ads.northwestern.edu::725c94ef-d051-42d7-9d33-8572765d592b" providerId="AD" clId="Web-{27D417B1-AC1D-5613-774C-09BCD51B442A}" dt="2023-11-20T15:55:41.535" v="134"/>
          <ac:spMkLst>
            <pc:docMk/>
            <pc:sldMk cId="1123896291" sldId="750"/>
            <ac:spMk id="13" creationId="{AB58EF07-17C2-48CF-ABB0-EEF1F17CB8F0}"/>
          </ac:spMkLst>
        </pc:spChg>
        <pc:spChg chg="add">
          <ac:chgData name="Eileen Fleming Suse" userId="S::efs3844@ads.northwestern.edu::725c94ef-d051-42d7-9d33-8572765d592b" providerId="AD" clId="Web-{27D417B1-AC1D-5613-774C-09BCD51B442A}" dt="2023-11-20T15:55:41.535" v="134"/>
          <ac:spMkLst>
            <pc:docMk/>
            <pc:sldMk cId="1123896291" sldId="750"/>
            <ac:spMk id="15" creationId="{AF2F604E-43BE-4DC3-B983-E071523364F8}"/>
          </ac:spMkLst>
        </pc:spChg>
        <pc:spChg chg="add">
          <ac:chgData name="Eileen Fleming Suse" userId="S::efs3844@ads.northwestern.edu::725c94ef-d051-42d7-9d33-8572765d592b" providerId="AD" clId="Web-{27D417B1-AC1D-5613-774C-09BCD51B442A}" dt="2023-11-20T15:55:41.535" v="134"/>
          <ac:spMkLst>
            <pc:docMk/>
            <pc:sldMk cId="1123896291" sldId="750"/>
            <ac:spMk id="17" creationId="{08C9B587-E65E-4B52-B37C-ABEBB6E87928}"/>
          </ac:spMkLst>
        </pc:spChg>
        <pc:picChg chg="add">
          <ac:chgData name="Eileen Fleming Suse" userId="S::efs3844@ads.northwestern.edu::725c94ef-d051-42d7-9d33-8572765d592b" providerId="AD" clId="Web-{27D417B1-AC1D-5613-774C-09BCD51B442A}" dt="2023-11-20T15:55:41.535" v="134"/>
          <ac:picMkLst>
            <pc:docMk/>
            <pc:sldMk cId="1123896291" sldId="750"/>
            <ac:picMk id="7" creationId="{3A359654-A2A5-BB69-5A24-18BCC5C338AC}"/>
          </ac:picMkLst>
        </pc:picChg>
      </pc:sldChg>
    </pc:docChg>
  </pc:docChgLst>
  <pc:docChgLst>
    <pc:chgData name="LCaldarelli" userId="S::lcaldarelli_luriechildrens.org#ext#@nuwildcat.onmicrosoft.com::cd79b54d-c14e-4199-a04a-39c6f592e710" providerId="AD" clId="Web-{F448B036-0349-8976-DAC4-88BE6A4E488E}"/>
    <pc:docChg chg="addSld delSld modSld sldOrd">
      <pc:chgData name="LCaldarelli" userId="S::lcaldarelli_luriechildrens.org#ext#@nuwildcat.onmicrosoft.com::cd79b54d-c14e-4199-a04a-39c6f592e710" providerId="AD" clId="Web-{F448B036-0349-8976-DAC4-88BE6A4E488E}" dt="2023-11-20T05:01:58.052" v="316" actId="20577"/>
      <pc:docMkLst>
        <pc:docMk/>
      </pc:docMkLst>
      <pc:sldChg chg="modSp">
        <pc:chgData name="LCaldarelli" userId="S::lcaldarelli_luriechildrens.org#ext#@nuwildcat.onmicrosoft.com::cd79b54d-c14e-4199-a04a-39c6f592e710" providerId="AD" clId="Web-{F448B036-0349-8976-DAC4-88BE6A4E488E}" dt="2023-11-20T04:10:09.055" v="120" actId="1076"/>
        <pc:sldMkLst>
          <pc:docMk/>
          <pc:sldMk cId="3635595752" sldId="545"/>
        </pc:sldMkLst>
        <pc:spChg chg="mod">
          <ac:chgData name="LCaldarelli" userId="S::lcaldarelli_luriechildrens.org#ext#@nuwildcat.onmicrosoft.com::cd79b54d-c14e-4199-a04a-39c6f592e710" providerId="AD" clId="Web-{F448B036-0349-8976-DAC4-88BE6A4E488E}" dt="2023-11-20T04:10:09.055" v="120" actId="1076"/>
          <ac:spMkLst>
            <pc:docMk/>
            <pc:sldMk cId="3635595752" sldId="545"/>
            <ac:spMk id="2" creationId="{39AAB3FF-760A-B654-5F1B-78AD5BEB6B57}"/>
          </ac:spMkLst>
        </pc:spChg>
        <pc:spChg chg="mod">
          <ac:chgData name="LCaldarelli" userId="S::lcaldarelli_luriechildrens.org#ext#@nuwildcat.onmicrosoft.com::cd79b54d-c14e-4199-a04a-39c6f592e710" providerId="AD" clId="Web-{F448B036-0349-8976-DAC4-88BE6A4E488E}" dt="2023-11-20T04:09:59.961" v="119" actId="20577"/>
          <ac:spMkLst>
            <pc:docMk/>
            <pc:sldMk cId="3635595752" sldId="545"/>
            <ac:spMk id="3" creationId="{BFE56240-A306-0E11-425A-7323821A42F2}"/>
          </ac:spMkLst>
        </pc:spChg>
      </pc:sldChg>
      <pc:sldChg chg="modSp">
        <pc:chgData name="LCaldarelli" userId="S::lcaldarelli_luriechildrens.org#ext#@nuwildcat.onmicrosoft.com::cd79b54d-c14e-4199-a04a-39c6f592e710" providerId="AD" clId="Web-{F448B036-0349-8976-DAC4-88BE6A4E488E}" dt="2023-11-20T04:16:18.798" v="149" actId="20577"/>
        <pc:sldMkLst>
          <pc:docMk/>
          <pc:sldMk cId="1036043289" sldId="546"/>
        </pc:sldMkLst>
        <pc:spChg chg="mod">
          <ac:chgData name="LCaldarelli" userId="S::lcaldarelli_luriechildrens.org#ext#@nuwildcat.onmicrosoft.com::cd79b54d-c14e-4199-a04a-39c6f592e710" providerId="AD" clId="Web-{F448B036-0349-8976-DAC4-88BE6A4E488E}" dt="2023-11-20T04:16:18.798" v="149" actId="20577"/>
          <ac:spMkLst>
            <pc:docMk/>
            <pc:sldMk cId="1036043289" sldId="546"/>
            <ac:spMk id="3" creationId="{BACE41BD-1CAE-1299-918F-5B1678DE12B4}"/>
          </ac:spMkLst>
        </pc:spChg>
      </pc:sldChg>
      <pc:sldChg chg="modSp">
        <pc:chgData name="LCaldarelli" userId="S::lcaldarelli_luriechildrens.org#ext#@nuwildcat.onmicrosoft.com::cd79b54d-c14e-4199-a04a-39c6f592e710" providerId="AD" clId="Web-{F448B036-0349-8976-DAC4-88BE6A4E488E}" dt="2023-11-20T04:43:29.776" v="269" actId="20577"/>
        <pc:sldMkLst>
          <pc:docMk/>
          <pc:sldMk cId="3745706804" sldId="548"/>
        </pc:sldMkLst>
        <pc:spChg chg="mod">
          <ac:chgData name="LCaldarelli" userId="S::lcaldarelli_luriechildrens.org#ext#@nuwildcat.onmicrosoft.com::cd79b54d-c14e-4199-a04a-39c6f592e710" providerId="AD" clId="Web-{F448B036-0349-8976-DAC4-88BE6A4E488E}" dt="2023-11-20T04:43:29.776" v="269" actId="20577"/>
          <ac:spMkLst>
            <pc:docMk/>
            <pc:sldMk cId="3745706804" sldId="548"/>
            <ac:spMk id="3" creationId="{C0454086-94BF-0693-766D-F1659194519A}"/>
          </ac:spMkLst>
        </pc:spChg>
      </pc:sldChg>
      <pc:sldChg chg="modSp">
        <pc:chgData name="LCaldarelli" userId="S::lcaldarelli_luriechildrens.org#ext#@nuwildcat.onmicrosoft.com::cd79b54d-c14e-4199-a04a-39c6f592e710" providerId="AD" clId="Web-{F448B036-0349-8976-DAC4-88BE6A4E488E}" dt="2023-11-20T04:15:55.344" v="148" actId="20577"/>
        <pc:sldMkLst>
          <pc:docMk/>
          <pc:sldMk cId="714682852" sldId="552"/>
        </pc:sldMkLst>
        <pc:spChg chg="mod">
          <ac:chgData name="LCaldarelli" userId="S::lcaldarelli_luriechildrens.org#ext#@nuwildcat.onmicrosoft.com::cd79b54d-c14e-4199-a04a-39c6f592e710" providerId="AD" clId="Web-{F448B036-0349-8976-DAC4-88BE6A4E488E}" dt="2023-11-20T04:15:55.344" v="148" actId="20577"/>
          <ac:spMkLst>
            <pc:docMk/>
            <pc:sldMk cId="714682852" sldId="552"/>
            <ac:spMk id="39" creationId="{E29ABAB9-1C54-B808-EDD4-5D83CC77687C}"/>
          </ac:spMkLst>
        </pc:spChg>
        <pc:grpChg chg="mod">
          <ac:chgData name="LCaldarelli" userId="S::lcaldarelli_luriechildrens.org#ext#@nuwildcat.onmicrosoft.com::cd79b54d-c14e-4199-a04a-39c6f592e710" providerId="AD" clId="Web-{F448B036-0349-8976-DAC4-88BE6A4E488E}" dt="2023-11-20T04:15:42.594" v="147" actId="14100"/>
          <ac:grpSpMkLst>
            <pc:docMk/>
            <pc:sldMk cId="714682852" sldId="552"/>
            <ac:grpSpMk id="41" creationId="{61ED38C4-194D-089B-AEF0-A50E211B69E8}"/>
          </ac:grpSpMkLst>
        </pc:grpChg>
      </pc:sldChg>
      <pc:sldChg chg="modSp">
        <pc:chgData name="LCaldarelli" userId="S::lcaldarelli_luriechildrens.org#ext#@nuwildcat.onmicrosoft.com::cd79b54d-c14e-4199-a04a-39c6f592e710" providerId="AD" clId="Web-{F448B036-0349-8976-DAC4-88BE6A4E488E}" dt="2023-11-20T04:58:51.891" v="306" actId="20577"/>
        <pc:sldMkLst>
          <pc:docMk/>
          <pc:sldMk cId="1141815353" sldId="562"/>
        </pc:sldMkLst>
        <pc:spChg chg="mod">
          <ac:chgData name="LCaldarelli" userId="S::lcaldarelli_luriechildrens.org#ext#@nuwildcat.onmicrosoft.com::cd79b54d-c14e-4199-a04a-39c6f592e710" providerId="AD" clId="Web-{F448B036-0349-8976-DAC4-88BE6A4E488E}" dt="2023-11-20T04:58:51.891" v="306" actId="20577"/>
          <ac:spMkLst>
            <pc:docMk/>
            <pc:sldMk cId="1141815353" sldId="562"/>
            <ac:spMk id="360" creationId="{FE59A3A2-BFF2-9772-51D6-9CCB620AEB53}"/>
          </ac:spMkLst>
        </pc:spChg>
      </pc:sldChg>
      <pc:sldChg chg="modSp">
        <pc:chgData name="LCaldarelli" userId="S::lcaldarelli_luriechildrens.org#ext#@nuwildcat.onmicrosoft.com::cd79b54d-c14e-4199-a04a-39c6f592e710" providerId="AD" clId="Web-{F448B036-0349-8976-DAC4-88BE6A4E488E}" dt="2023-11-20T04:20:07.178" v="155" actId="20577"/>
        <pc:sldMkLst>
          <pc:docMk/>
          <pc:sldMk cId="785115983" sldId="578"/>
        </pc:sldMkLst>
        <pc:spChg chg="mod">
          <ac:chgData name="LCaldarelli" userId="S::lcaldarelli_luriechildrens.org#ext#@nuwildcat.onmicrosoft.com::cd79b54d-c14e-4199-a04a-39c6f592e710" providerId="AD" clId="Web-{F448B036-0349-8976-DAC4-88BE6A4E488E}" dt="2023-11-20T04:18:26.192" v="151" actId="20577"/>
          <ac:spMkLst>
            <pc:docMk/>
            <pc:sldMk cId="785115983" sldId="578"/>
            <ac:spMk id="44" creationId="{00000000-0000-0000-0000-000000000000}"/>
          </ac:spMkLst>
        </pc:spChg>
        <pc:spChg chg="mod">
          <ac:chgData name="LCaldarelli" userId="S::lcaldarelli_luriechildrens.org#ext#@nuwildcat.onmicrosoft.com::cd79b54d-c14e-4199-a04a-39c6f592e710" providerId="AD" clId="Web-{F448B036-0349-8976-DAC4-88BE6A4E488E}" dt="2023-11-20T04:20:07.178" v="155" actId="20577"/>
          <ac:spMkLst>
            <pc:docMk/>
            <pc:sldMk cId="785115983" sldId="578"/>
            <ac:spMk id="48" creationId="{00000000-0000-0000-0000-000000000000}"/>
          </ac:spMkLst>
        </pc:spChg>
      </pc:sldChg>
      <pc:sldChg chg="modSp">
        <pc:chgData name="LCaldarelli" userId="S::lcaldarelli_luriechildrens.org#ext#@nuwildcat.onmicrosoft.com::cd79b54d-c14e-4199-a04a-39c6f592e710" providerId="AD" clId="Web-{F448B036-0349-8976-DAC4-88BE6A4E488E}" dt="2023-11-20T04:17:49.409" v="150" actId="20577"/>
        <pc:sldMkLst>
          <pc:docMk/>
          <pc:sldMk cId="4283907660" sldId="580"/>
        </pc:sldMkLst>
        <pc:spChg chg="mod">
          <ac:chgData name="LCaldarelli" userId="S::lcaldarelli_luriechildrens.org#ext#@nuwildcat.onmicrosoft.com::cd79b54d-c14e-4199-a04a-39c6f592e710" providerId="AD" clId="Web-{F448B036-0349-8976-DAC4-88BE6A4E488E}" dt="2023-11-20T04:17:49.409" v="150" actId="20577"/>
          <ac:spMkLst>
            <pc:docMk/>
            <pc:sldMk cId="4283907660" sldId="580"/>
            <ac:spMk id="59" creationId="{00000000-0000-0000-0000-000000000000}"/>
          </ac:spMkLst>
        </pc:spChg>
      </pc:sldChg>
      <pc:sldChg chg="modSp">
        <pc:chgData name="LCaldarelli" userId="S::lcaldarelli_luriechildrens.org#ext#@nuwildcat.onmicrosoft.com::cd79b54d-c14e-4199-a04a-39c6f592e710" providerId="AD" clId="Web-{F448B036-0349-8976-DAC4-88BE6A4E488E}" dt="2023-11-20T04:15:21.797" v="142" actId="20577"/>
        <pc:sldMkLst>
          <pc:docMk/>
          <pc:sldMk cId="3726638559" sldId="616"/>
        </pc:sldMkLst>
        <pc:spChg chg="mod">
          <ac:chgData name="LCaldarelli" userId="S::lcaldarelli_luriechildrens.org#ext#@nuwildcat.onmicrosoft.com::cd79b54d-c14e-4199-a04a-39c6f592e710" providerId="AD" clId="Web-{F448B036-0349-8976-DAC4-88BE6A4E488E}" dt="2023-11-20T04:15:21.797" v="142" actId="20577"/>
          <ac:spMkLst>
            <pc:docMk/>
            <pc:sldMk cId="3726638559" sldId="616"/>
            <ac:spMk id="2175" creationId="{00000000-0000-0000-0000-000000000000}"/>
          </ac:spMkLst>
        </pc:spChg>
      </pc:sldChg>
      <pc:sldChg chg="modSp">
        <pc:chgData name="LCaldarelli" userId="S::lcaldarelli_luriechildrens.org#ext#@nuwildcat.onmicrosoft.com::cd79b54d-c14e-4199-a04a-39c6f592e710" providerId="AD" clId="Web-{F448B036-0349-8976-DAC4-88BE6A4E488E}" dt="2023-11-20T04:01:36.480" v="94" actId="1076"/>
        <pc:sldMkLst>
          <pc:docMk/>
          <pc:sldMk cId="3572565421" sldId="652"/>
        </pc:sldMkLst>
        <pc:spChg chg="mod">
          <ac:chgData name="LCaldarelli" userId="S::lcaldarelli_luriechildrens.org#ext#@nuwildcat.onmicrosoft.com::cd79b54d-c14e-4199-a04a-39c6f592e710" providerId="AD" clId="Web-{F448B036-0349-8976-DAC4-88BE6A4E488E}" dt="2023-11-20T04:01:36.480" v="94" actId="1076"/>
          <ac:spMkLst>
            <pc:docMk/>
            <pc:sldMk cId="3572565421" sldId="652"/>
            <ac:spMk id="2" creationId="{254DF95E-4E67-BAF0-2898-584D247DD41D}"/>
          </ac:spMkLst>
        </pc:spChg>
      </pc:sldChg>
      <pc:sldChg chg="modSp">
        <pc:chgData name="LCaldarelli" userId="S::lcaldarelli_luriechildrens.org#ext#@nuwildcat.onmicrosoft.com::cd79b54d-c14e-4199-a04a-39c6f592e710" providerId="AD" clId="Web-{F448B036-0349-8976-DAC4-88BE6A4E488E}" dt="2023-11-20T04:02:36.763" v="98" actId="1076"/>
        <pc:sldMkLst>
          <pc:docMk/>
          <pc:sldMk cId="4023770579" sldId="654"/>
        </pc:sldMkLst>
        <pc:spChg chg="mod">
          <ac:chgData name="LCaldarelli" userId="S::lcaldarelli_luriechildrens.org#ext#@nuwildcat.onmicrosoft.com::cd79b54d-c14e-4199-a04a-39c6f592e710" providerId="AD" clId="Web-{F448B036-0349-8976-DAC4-88BE6A4E488E}" dt="2023-11-20T04:02:36.763" v="98" actId="1076"/>
          <ac:spMkLst>
            <pc:docMk/>
            <pc:sldMk cId="4023770579" sldId="654"/>
            <ac:spMk id="2" creationId="{2D358DD0-2AA0-AB8F-45B1-8C96C2105FD9}"/>
          </ac:spMkLst>
        </pc:spChg>
      </pc:sldChg>
      <pc:sldChg chg="ord">
        <pc:chgData name="LCaldarelli" userId="S::lcaldarelli_luriechildrens.org#ext#@nuwildcat.onmicrosoft.com::cd79b54d-c14e-4199-a04a-39c6f592e710" providerId="AD" clId="Web-{F448B036-0349-8976-DAC4-88BE6A4E488E}" dt="2023-11-20T04:14:54.139" v="140"/>
        <pc:sldMkLst>
          <pc:docMk/>
          <pc:sldMk cId="3550543422" sldId="655"/>
        </pc:sldMkLst>
      </pc:sldChg>
      <pc:sldChg chg="modSp">
        <pc:chgData name="LCaldarelli" userId="S::lcaldarelli_luriechildrens.org#ext#@nuwildcat.onmicrosoft.com::cd79b54d-c14e-4199-a04a-39c6f592e710" providerId="AD" clId="Web-{F448B036-0349-8976-DAC4-88BE6A4E488E}" dt="2023-11-20T04:59:24.454" v="311" actId="20577"/>
        <pc:sldMkLst>
          <pc:docMk/>
          <pc:sldMk cId="3336998141" sldId="681"/>
        </pc:sldMkLst>
        <pc:spChg chg="mod">
          <ac:chgData name="LCaldarelli" userId="S::lcaldarelli_luriechildrens.org#ext#@nuwildcat.onmicrosoft.com::cd79b54d-c14e-4199-a04a-39c6f592e710" providerId="AD" clId="Web-{F448B036-0349-8976-DAC4-88BE6A4E488E}" dt="2023-11-20T04:59:24.454" v="311" actId="20577"/>
          <ac:spMkLst>
            <pc:docMk/>
            <pc:sldMk cId="3336998141" sldId="681"/>
            <ac:spMk id="3" creationId="{00000000-0000-0000-0000-000000000000}"/>
          </ac:spMkLst>
        </pc:spChg>
      </pc:sldChg>
      <pc:sldChg chg="ord">
        <pc:chgData name="LCaldarelli" userId="S::lcaldarelli_luriechildrens.org#ext#@nuwildcat.onmicrosoft.com::cd79b54d-c14e-4199-a04a-39c6f592e710" providerId="AD" clId="Web-{F448B036-0349-8976-DAC4-88BE6A4E488E}" dt="2023-11-20T04:56:59.014" v="304"/>
        <pc:sldMkLst>
          <pc:docMk/>
          <pc:sldMk cId="1641636598" sldId="687"/>
        </pc:sldMkLst>
      </pc:sldChg>
      <pc:sldChg chg="ord">
        <pc:chgData name="LCaldarelli" userId="S::lcaldarelli_luriechildrens.org#ext#@nuwildcat.onmicrosoft.com::cd79b54d-c14e-4199-a04a-39c6f592e710" providerId="AD" clId="Web-{F448B036-0349-8976-DAC4-88BE6A4E488E}" dt="2023-11-20T04:53:22.540" v="300"/>
        <pc:sldMkLst>
          <pc:docMk/>
          <pc:sldMk cId="661046635" sldId="694"/>
        </pc:sldMkLst>
      </pc:sldChg>
      <pc:sldChg chg="ord">
        <pc:chgData name="LCaldarelli" userId="S::lcaldarelli_luriechildrens.org#ext#@nuwildcat.onmicrosoft.com::cd79b54d-c14e-4199-a04a-39c6f592e710" providerId="AD" clId="Web-{F448B036-0349-8976-DAC4-88BE6A4E488E}" dt="2023-11-20T04:53:35.634" v="301"/>
        <pc:sldMkLst>
          <pc:docMk/>
          <pc:sldMk cId="3174384986" sldId="695"/>
        </pc:sldMkLst>
      </pc:sldChg>
      <pc:sldChg chg="ord">
        <pc:chgData name="LCaldarelli" userId="S::lcaldarelli_luriechildrens.org#ext#@nuwildcat.onmicrosoft.com::cd79b54d-c14e-4199-a04a-39c6f592e710" providerId="AD" clId="Web-{F448B036-0349-8976-DAC4-88BE6A4E488E}" dt="2023-11-20T04:53:50.572" v="302"/>
        <pc:sldMkLst>
          <pc:docMk/>
          <pc:sldMk cId="4074859317" sldId="696"/>
        </pc:sldMkLst>
      </pc:sldChg>
      <pc:sldChg chg="ord">
        <pc:chgData name="LCaldarelli" userId="S::lcaldarelli_luriechildrens.org#ext#@nuwildcat.onmicrosoft.com::cd79b54d-c14e-4199-a04a-39c6f592e710" providerId="AD" clId="Web-{F448B036-0349-8976-DAC4-88BE6A4E488E}" dt="2023-11-20T04:55:59.122" v="303"/>
        <pc:sldMkLst>
          <pc:docMk/>
          <pc:sldMk cId="1549218491" sldId="697"/>
        </pc:sldMkLst>
      </pc:sldChg>
      <pc:sldChg chg="modSp">
        <pc:chgData name="LCaldarelli" userId="S::lcaldarelli_luriechildrens.org#ext#@nuwildcat.onmicrosoft.com::cd79b54d-c14e-4199-a04a-39c6f592e710" providerId="AD" clId="Web-{F448B036-0349-8976-DAC4-88BE6A4E488E}" dt="2023-11-20T04:50:06.207" v="295" actId="20577"/>
        <pc:sldMkLst>
          <pc:docMk/>
          <pc:sldMk cId="2547146411" sldId="699"/>
        </pc:sldMkLst>
        <pc:spChg chg="mod">
          <ac:chgData name="LCaldarelli" userId="S::lcaldarelli_luriechildrens.org#ext#@nuwildcat.onmicrosoft.com::cd79b54d-c14e-4199-a04a-39c6f592e710" providerId="AD" clId="Web-{F448B036-0349-8976-DAC4-88BE6A4E488E}" dt="2023-11-20T04:48:46.080" v="294" actId="1076"/>
          <ac:spMkLst>
            <pc:docMk/>
            <pc:sldMk cId="2547146411" sldId="699"/>
            <ac:spMk id="3" creationId="{00000000-0000-0000-0000-000000000000}"/>
          </ac:spMkLst>
        </pc:spChg>
        <pc:spChg chg="mod">
          <ac:chgData name="LCaldarelli" userId="S::lcaldarelli_luriechildrens.org#ext#@nuwildcat.onmicrosoft.com::cd79b54d-c14e-4199-a04a-39c6f592e710" providerId="AD" clId="Web-{F448B036-0349-8976-DAC4-88BE6A4E488E}" dt="2023-11-20T04:50:06.207" v="295" actId="20577"/>
          <ac:spMkLst>
            <pc:docMk/>
            <pc:sldMk cId="2547146411" sldId="699"/>
            <ac:spMk id="36" creationId="{6DDD1FA6-DDF8-552B-4E86-7E808427ADE7}"/>
          </ac:spMkLst>
        </pc:spChg>
      </pc:sldChg>
      <pc:sldChg chg="modSp">
        <pc:chgData name="LCaldarelli" userId="S::lcaldarelli_luriechildrens.org#ext#@nuwildcat.onmicrosoft.com::cd79b54d-c14e-4199-a04a-39c6f592e710" providerId="AD" clId="Web-{F448B036-0349-8976-DAC4-88BE6A4E488E}" dt="2023-11-20T04:51:01.193" v="299" actId="20577"/>
        <pc:sldMkLst>
          <pc:docMk/>
          <pc:sldMk cId="2361021200" sldId="700"/>
        </pc:sldMkLst>
        <pc:graphicFrameChg chg="modGraphic">
          <ac:chgData name="LCaldarelli" userId="S::lcaldarelli_luriechildrens.org#ext#@nuwildcat.onmicrosoft.com::cd79b54d-c14e-4199-a04a-39c6f592e710" providerId="AD" clId="Web-{F448B036-0349-8976-DAC4-88BE6A4E488E}" dt="2023-11-20T04:51:01.193" v="299" actId="20577"/>
          <ac:graphicFrameMkLst>
            <pc:docMk/>
            <pc:sldMk cId="2361021200" sldId="700"/>
            <ac:graphicFrameMk id="7" creationId="{F06CF2E9-18E9-F336-FAF0-9ACB11E023F2}"/>
          </ac:graphicFrameMkLst>
        </pc:graphicFrameChg>
      </pc:sldChg>
      <pc:sldChg chg="ord">
        <pc:chgData name="LCaldarelli" userId="S::lcaldarelli_luriechildrens.org#ext#@nuwildcat.onmicrosoft.com::cd79b54d-c14e-4199-a04a-39c6f592e710" providerId="AD" clId="Web-{F448B036-0349-8976-DAC4-88BE6A4E488E}" dt="2023-11-20T04:14:40.108" v="139"/>
        <pc:sldMkLst>
          <pc:docMk/>
          <pc:sldMk cId="3080095507" sldId="703"/>
        </pc:sldMkLst>
      </pc:sldChg>
      <pc:sldChg chg="modSp">
        <pc:chgData name="LCaldarelli" userId="S::lcaldarelli_luriechildrens.org#ext#@nuwildcat.onmicrosoft.com::cd79b54d-c14e-4199-a04a-39c6f592e710" providerId="AD" clId="Web-{F448B036-0349-8976-DAC4-88BE6A4E488E}" dt="2023-11-20T04:01:16.589" v="92" actId="20577"/>
        <pc:sldMkLst>
          <pc:docMk/>
          <pc:sldMk cId="1949613945" sldId="705"/>
        </pc:sldMkLst>
        <pc:spChg chg="mod">
          <ac:chgData name="LCaldarelli" userId="S::lcaldarelli_luriechildrens.org#ext#@nuwildcat.onmicrosoft.com::cd79b54d-c14e-4199-a04a-39c6f592e710" providerId="AD" clId="Web-{F448B036-0349-8976-DAC4-88BE6A4E488E}" dt="2023-11-20T04:01:16.589" v="92" actId="20577"/>
          <ac:spMkLst>
            <pc:docMk/>
            <pc:sldMk cId="1949613945" sldId="705"/>
            <ac:spMk id="2" creationId="{2DE9407A-4283-B111-345C-31D89DFF03A2}"/>
          </ac:spMkLst>
        </pc:spChg>
      </pc:sldChg>
      <pc:sldChg chg="modSp ord">
        <pc:chgData name="LCaldarelli" userId="S::lcaldarelli_luriechildrens.org#ext#@nuwildcat.onmicrosoft.com::cd79b54d-c14e-4199-a04a-39c6f592e710" providerId="AD" clId="Web-{F448B036-0349-8976-DAC4-88BE6A4E488E}" dt="2023-11-20T04:14:01.310" v="134" actId="20577"/>
        <pc:sldMkLst>
          <pc:docMk/>
          <pc:sldMk cId="790635443" sldId="706"/>
        </pc:sldMkLst>
        <pc:spChg chg="mod">
          <ac:chgData name="LCaldarelli" userId="S::lcaldarelli_luriechildrens.org#ext#@nuwildcat.onmicrosoft.com::cd79b54d-c14e-4199-a04a-39c6f592e710" providerId="AD" clId="Web-{F448B036-0349-8976-DAC4-88BE6A4E488E}" dt="2023-11-20T04:09:02.991" v="115" actId="1076"/>
          <ac:spMkLst>
            <pc:docMk/>
            <pc:sldMk cId="790635443" sldId="706"/>
            <ac:spMk id="2" creationId="{00000000-0000-0000-0000-000000000000}"/>
          </ac:spMkLst>
        </pc:spChg>
        <pc:spChg chg="mod">
          <ac:chgData name="LCaldarelli" userId="S::lcaldarelli_luriechildrens.org#ext#@nuwildcat.onmicrosoft.com::cd79b54d-c14e-4199-a04a-39c6f592e710" providerId="AD" clId="Web-{F448B036-0349-8976-DAC4-88BE6A4E488E}" dt="2023-11-20T04:14:01.310" v="134" actId="20577"/>
          <ac:spMkLst>
            <pc:docMk/>
            <pc:sldMk cId="790635443" sldId="706"/>
            <ac:spMk id="3" creationId="{00000000-0000-0000-0000-000000000000}"/>
          </ac:spMkLst>
        </pc:spChg>
      </pc:sldChg>
      <pc:sldChg chg="modSp">
        <pc:chgData name="LCaldarelli" userId="S::lcaldarelli_luriechildrens.org#ext#@nuwildcat.onmicrosoft.com::cd79b54d-c14e-4199-a04a-39c6f592e710" providerId="AD" clId="Web-{F448B036-0349-8976-DAC4-88BE6A4E488E}" dt="2023-11-20T03:57:16.459" v="72" actId="20577"/>
        <pc:sldMkLst>
          <pc:docMk/>
          <pc:sldMk cId="3859034132" sldId="711"/>
        </pc:sldMkLst>
        <pc:spChg chg="mod">
          <ac:chgData name="LCaldarelli" userId="S::lcaldarelli_luriechildrens.org#ext#@nuwildcat.onmicrosoft.com::cd79b54d-c14e-4199-a04a-39c6f592e710" providerId="AD" clId="Web-{F448B036-0349-8976-DAC4-88BE6A4E488E}" dt="2023-11-20T03:57:16.459" v="72" actId="20577"/>
          <ac:spMkLst>
            <pc:docMk/>
            <pc:sldMk cId="3859034132" sldId="711"/>
            <ac:spMk id="3780" creationId="{00000000-0000-0000-0000-000000000000}"/>
          </ac:spMkLst>
        </pc:spChg>
      </pc:sldChg>
      <pc:sldChg chg="modSp">
        <pc:chgData name="LCaldarelli" userId="S::lcaldarelli_luriechildrens.org#ext#@nuwildcat.onmicrosoft.com::cd79b54d-c14e-4199-a04a-39c6f592e710" providerId="AD" clId="Web-{F448B036-0349-8976-DAC4-88BE6A4E488E}" dt="2023-11-20T04:00:05.650" v="86" actId="1076"/>
        <pc:sldMkLst>
          <pc:docMk/>
          <pc:sldMk cId="4179369718" sldId="713"/>
        </pc:sldMkLst>
        <pc:spChg chg="mod">
          <ac:chgData name="LCaldarelli" userId="S::lcaldarelli_luriechildrens.org#ext#@nuwildcat.onmicrosoft.com::cd79b54d-c14e-4199-a04a-39c6f592e710" providerId="AD" clId="Web-{F448B036-0349-8976-DAC4-88BE6A4E488E}" dt="2023-11-20T04:00:05.650" v="86" actId="1076"/>
          <ac:spMkLst>
            <pc:docMk/>
            <pc:sldMk cId="4179369718" sldId="713"/>
            <ac:spMk id="2" creationId="{00000000-0000-0000-0000-000000000000}"/>
          </ac:spMkLst>
        </pc:spChg>
      </pc:sldChg>
      <pc:sldChg chg="modSp">
        <pc:chgData name="LCaldarelli" userId="S::lcaldarelli_luriechildrens.org#ext#@nuwildcat.onmicrosoft.com::cd79b54d-c14e-4199-a04a-39c6f592e710" providerId="AD" clId="Web-{F448B036-0349-8976-DAC4-88BE6A4E488E}" dt="2023-11-20T03:46:52.350" v="0" actId="1076"/>
        <pc:sldMkLst>
          <pc:docMk/>
          <pc:sldMk cId="3124210322" sldId="714"/>
        </pc:sldMkLst>
        <pc:picChg chg="mod">
          <ac:chgData name="LCaldarelli" userId="S::lcaldarelli_luriechildrens.org#ext#@nuwildcat.onmicrosoft.com::cd79b54d-c14e-4199-a04a-39c6f592e710" providerId="AD" clId="Web-{F448B036-0349-8976-DAC4-88BE6A4E488E}" dt="2023-11-20T03:46:52.350" v="0" actId="1076"/>
          <ac:picMkLst>
            <pc:docMk/>
            <pc:sldMk cId="3124210322" sldId="714"/>
            <ac:picMk id="6" creationId="{9EE6AC8F-4DC4-191C-AA4C-B047F4935B19}"/>
          </ac:picMkLst>
        </pc:picChg>
      </pc:sldChg>
      <pc:sldChg chg="modSp">
        <pc:chgData name="LCaldarelli" userId="S::lcaldarelli_luriechildrens.org#ext#@nuwildcat.onmicrosoft.com::cd79b54d-c14e-4199-a04a-39c6f592e710" providerId="AD" clId="Web-{F448B036-0349-8976-DAC4-88BE6A4E488E}" dt="2023-11-20T03:57:02.989" v="71" actId="1076"/>
        <pc:sldMkLst>
          <pc:docMk/>
          <pc:sldMk cId="4091814342" sldId="715"/>
        </pc:sldMkLst>
        <pc:spChg chg="mod">
          <ac:chgData name="LCaldarelli" userId="S::lcaldarelli_luriechildrens.org#ext#@nuwildcat.onmicrosoft.com::cd79b54d-c14e-4199-a04a-39c6f592e710" providerId="AD" clId="Web-{F448B036-0349-8976-DAC4-88BE6A4E488E}" dt="2023-11-20T03:56:53.520" v="70" actId="20577"/>
          <ac:spMkLst>
            <pc:docMk/>
            <pc:sldMk cId="4091814342" sldId="715"/>
            <ac:spMk id="2" creationId="{8802BA79-C4E2-3A24-1316-4AC6D3F66837}"/>
          </ac:spMkLst>
        </pc:spChg>
        <pc:spChg chg="mod">
          <ac:chgData name="LCaldarelli" userId="S::lcaldarelli_luriechildrens.org#ext#@nuwildcat.onmicrosoft.com::cd79b54d-c14e-4199-a04a-39c6f592e710" providerId="AD" clId="Web-{F448B036-0349-8976-DAC4-88BE6A4E488E}" dt="2023-11-20T03:56:34.801" v="69" actId="20577"/>
          <ac:spMkLst>
            <pc:docMk/>
            <pc:sldMk cId="4091814342" sldId="715"/>
            <ac:spMk id="3" creationId="{0608F2C2-83F0-41C5-A0E1-33DE05A98582}"/>
          </ac:spMkLst>
        </pc:spChg>
        <pc:picChg chg="mod">
          <ac:chgData name="LCaldarelli" userId="S::lcaldarelli_luriechildrens.org#ext#@nuwildcat.onmicrosoft.com::cd79b54d-c14e-4199-a04a-39c6f592e710" providerId="AD" clId="Web-{F448B036-0349-8976-DAC4-88BE6A4E488E}" dt="2023-11-20T03:57:02.989" v="71" actId="1076"/>
          <ac:picMkLst>
            <pc:docMk/>
            <pc:sldMk cId="4091814342" sldId="715"/>
            <ac:picMk id="6" creationId="{302BBFF9-D69A-D1E9-E01C-7C15E1F6D1A6}"/>
          </ac:picMkLst>
        </pc:picChg>
      </pc:sldChg>
      <pc:sldChg chg="modSp">
        <pc:chgData name="LCaldarelli" userId="S::lcaldarelli_luriechildrens.org#ext#@nuwildcat.onmicrosoft.com::cd79b54d-c14e-4199-a04a-39c6f592e710" providerId="AD" clId="Web-{F448B036-0349-8976-DAC4-88BE6A4E488E}" dt="2023-11-20T04:43:12.182" v="268" actId="20577"/>
        <pc:sldMkLst>
          <pc:docMk/>
          <pc:sldMk cId="920926381" sldId="718"/>
        </pc:sldMkLst>
        <pc:spChg chg="mod">
          <ac:chgData name="LCaldarelli" userId="S::lcaldarelli_luriechildrens.org#ext#@nuwildcat.onmicrosoft.com::cd79b54d-c14e-4199-a04a-39c6f592e710" providerId="AD" clId="Web-{F448B036-0349-8976-DAC4-88BE6A4E488E}" dt="2023-11-20T04:43:12.182" v="268" actId="20577"/>
          <ac:spMkLst>
            <pc:docMk/>
            <pc:sldMk cId="920926381" sldId="718"/>
            <ac:spMk id="7" creationId="{C4CE6283-A808-AE07-353B-1EEB0D5BF6FD}"/>
          </ac:spMkLst>
        </pc:spChg>
      </pc:sldChg>
      <pc:sldChg chg="modSp">
        <pc:chgData name="LCaldarelli" userId="S::lcaldarelli_luriechildrens.org#ext#@nuwildcat.onmicrosoft.com::cd79b54d-c14e-4199-a04a-39c6f592e710" providerId="AD" clId="Web-{F448B036-0349-8976-DAC4-88BE6A4E488E}" dt="2023-11-20T04:40:05.381" v="266" actId="20577"/>
        <pc:sldMkLst>
          <pc:docMk/>
          <pc:sldMk cId="97208790" sldId="723"/>
        </pc:sldMkLst>
        <pc:spChg chg="mod">
          <ac:chgData name="LCaldarelli" userId="S::lcaldarelli_luriechildrens.org#ext#@nuwildcat.onmicrosoft.com::cd79b54d-c14e-4199-a04a-39c6f592e710" providerId="AD" clId="Web-{F448B036-0349-8976-DAC4-88BE6A4E488E}" dt="2023-11-20T04:40:05.381" v="266" actId="20577"/>
          <ac:spMkLst>
            <pc:docMk/>
            <pc:sldMk cId="97208790" sldId="723"/>
            <ac:spMk id="8" creationId="{24CD5883-74F0-901B-1AE1-A53D4170658C}"/>
          </ac:spMkLst>
        </pc:spChg>
        <pc:spChg chg="mod">
          <ac:chgData name="LCaldarelli" userId="S::lcaldarelli_luriechildrens.org#ext#@nuwildcat.onmicrosoft.com::cd79b54d-c14e-4199-a04a-39c6f592e710" providerId="AD" clId="Web-{F448B036-0349-8976-DAC4-88BE6A4E488E}" dt="2023-11-20T04:39:32.318" v="262" actId="20577"/>
          <ac:spMkLst>
            <pc:docMk/>
            <pc:sldMk cId="97208790" sldId="723"/>
            <ac:spMk id="10" creationId="{8BCC0F5C-3791-38AB-6A34-E5D5FCAACFCB}"/>
          </ac:spMkLst>
        </pc:spChg>
        <pc:picChg chg="mod">
          <ac:chgData name="LCaldarelli" userId="S::lcaldarelli_luriechildrens.org#ext#@nuwildcat.onmicrosoft.com::cd79b54d-c14e-4199-a04a-39c6f592e710" providerId="AD" clId="Web-{F448B036-0349-8976-DAC4-88BE6A4E488E}" dt="2023-11-20T04:39:45.646" v="263" actId="1076"/>
          <ac:picMkLst>
            <pc:docMk/>
            <pc:sldMk cId="97208790" sldId="723"/>
            <ac:picMk id="17" creationId="{1E6C1ABD-FF6C-3DED-E717-DF57CD6F7C44}"/>
          </ac:picMkLst>
        </pc:picChg>
      </pc:sldChg>
      <pc:sldChg chg="modSp">
        <pc:chgData name="LCaldarelli" userId="S::lcaldarelli_luriechildrens.org#ext#@nuwildcat.onmicrosoft.com::cd79b54d-c14e-4199-a04a-39c6f592e710" providerId="AD" clId="Web-{F448B036-0349-8976-DAC4-88BE6A4E488E}" dt="2023-11-20T04:39:12.005" v="258" actId="20577"/>
        <pc:sldMkLst>
          <pc:docMk/>
          <pc:sldMk cId="2422191514" sldId="724"/>
        </pc:sldMkLst>
        <pc:spChg chg="mod">
          <ac:chgData name="LCaldarelli" userId="S::lcaldarelli_luriechildrens.org#ext#@nuwildcat.onmicrosoft.com::cd79b54d-c14e-4199-a04a-39c6f592e710" providerId="AD" clId="Web-{F448B036-0349-8976-DAC4-88BE6A4E488E}" dt="2023-11-20T04:39:12.005" v="258" actId="20577"/>
          <ac:spMkLst>
            <pc:docMk/>
            <pc:sldMk cId="2422191514" sldId="724"/>
            <ac:spMk id="3" creationId="{CF76BAF3-0D68-BE52-7B63-AF42CBFD04CB}"/>
          </ac:spMkLst>
        </pc:spChg>
        <pc:spChg chg="mod">
          <ac:chgData name="LCaldarelli" userId="S::lcaldarelli_luriechildrens.org#ext#@nuwildcat.onmicrosoft.com::cd79b54d-c14e-4199-a04a-39c6f592e710" providerId="AD" clId="Web-{F448B036-0349-8976-DAC4-88BE6A4E488E}" dt="2023-11-20T04:38:26.660" v="251" actId="20577"/>
          <ac:spMkLst>
            <pc:docMk/>
            <pc:sldMk cId="2422191514" sldId="724"/>
            <ac:spMk id="7" creationId="{B36D3553-B1A4-1B35-3CEF-32DDF6A472CD}"/>
          </ac:spMkLst>
        </pc:spChg>
        <pc:spChg chg="mod">
          <ac:chgData name="LCaldarelli" userId="S::lcaldarelli_luriechildrens.org#ext#@nuwildcat.onmicrosoft.com::cd79b54d-c14e-4199-a04a-39c6f592e710" providerId="AD" clId="Web-{F448B036-0349-8976-DAC4-88BE6A4E488E}" dt="2023-11-20T04:38:08.269" v="249" actId="20577"/>
          <ac:spMkLst>
            <pc:docMk/>
            <pc:sldMk cId="2422191514" sldId="724"/>
            <ac:spMk id="12" creationId="{78126F38-8B56-6129-962F-5469035C8159}"/>
          </ac:spMkLst>
        </pc:spChg>
      </pc:sldChg>
      <pc:sldChg chg="modSp">
        <pc:chgData name="LCaldarelli" userId="S::lcaldarelli_luriechildrens.org#ext#@nuwildcat.onmicrosoft.com::cd79b54d-c14e-4199-a04a-39c6f592e710" providerId="AD" clId="Web-{F448B036-0349-8976-DAC4-88BE6A4E488E}" dt="2023-11-20T04:35:41.403" v="247" actId="20577"/>
        <pc:sldMkLst>
          <pc:docMk/>
          <pc:sldMk cId="3458386910" sldId="725"/>
        </pc:sldMkLst>
        <pc:spChg chg="mod">
          <ac:chgData name="LCaldarelli" userId="S::lcaldarelli_luriechildrens.org#ext#@nuwildcat.onmicrosoft.com::cd79b54d-c14e-4199-a04a-39c6f592e710" providerId="AD" clId="Web-{F448B036-0349-8976-DAC4-88BE6A4E488E}" dt="2023-11-20T04:35:22.293" v="245" actId="20577"/>
          <ac:spMkLst>
            <pc:docMk/>
            <pc:sldMk cId="3458386910" sldId="725"/>
            <ac:spMk id="3" creationId="{E820A2E4-4F18-6799-9BD9-B308061CC76C}"/>
          </ac:spMkLst>
        </pc:spChg>
        <pc:spChg chg="mod">
          <ac:chgData name="LCaldarelli" userId="S::lcaldarelli_luriechildrens.org#ext#@nuwildcat.onmicrosoft.com::cd79b54d-c14e-4199-a04a-39c6f592e710" providerId="AD" clId="Web-{F448B036-0349-8976-DAC4-88BE6A4E488E}" dt="2023-11-20T04:35:41.403" v="247" actId="20577"/>
          <ac:spMkLst>
            <pc:docMk/>
            <pc:sldMk cId="3458386910" sldId="725"/>
            <ac:spMk id="6" creationId="{ADFC1F5A-A2FF-8C65-F763-941E2E4DFF8C}"/>
          </ac:spMkLst>
        </pc:spChg>
        <pc:spChg chg="mod">
          <ac:chgData name="LCaldarelli" userId="S::lcaldarelli_luriechildrens.org#ext#@nuwildcat.onmicrosoft.com::cd79b54d-c14e-4199-a04a-39c6f592e710" providerId="AD" clId="Web-{F448B036-0349-8976-DAC4-88BE6A4E488E}" dt="2023-11-20T04:35:11.996" v="242" actId="20577"/>
          <ac:spMkLst>
            <pc:docMk/>
            <pc:sldMk cId="3458386910" sldId="725"/>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33:54.276" v="214" actId="1076"/>
        <pc:sldMkLst>
          <pc:docMk/>
          <pc:sldMk cId="1390059426" sldId="726"/>
        </pc:sldMkLst>
        <pc:spChg chg="mod">
          <ac:chgData name="LCaldarelli" userId="S::lcaldarelli_luriechildrens.org#ext#@nuwildcat.onmicrosoft.com::cd79b54d-c14e-4199-a04a-39c6f592e710" providerId="AD" clId="Web-{F448B036-0349-8976-DAC4-88BE6A4E488E}" dt="2023-11-20T04:32:42.227" v="211" actId="20577"/>
          <ac:spMkLst>
            <pc:docMk/>
            <pc:sldMk cId="1390059426" sldId="726"/>
            <ac:spMk id="25" creationId="{6DD46D80-F576-4F56-C047-1645F85E88F8}"/>
          </ac:spMkLst>
        </pc:spChg>
        <pc:spChg chg="mod">
          <ac:chgData name="LCaldarelli" userId="S::lcaldarelli_luriechildrens.org#ext#@nuwildcat.onmicrosoft.com::cd79b54d-c14e-4199-a04a-39c6f592e710" providerId="AD" clId="Web-{F448B036-0349-8976-DAC4-88BE6A4E488E}" dt="2023-11-20T04:32:52.227" v="213" actId="20577"/>
          <ac:spMkLst>
            <pc:docMk/>
            <pc:sldMk cId="1390059426" sldId="726"/>
            <ac:spMk id="26" creationId="{585B113D-37B0-A626-E412-E3D462910528}"/>
          </ac:spMkLst>
        </pc:spChg>
        <pc:spChg chg="mod">
          <ac:chgData name="LCaldarelli" userId="S::lcaldarelli_luriechildrens.org#ext#@nuwildcat.onmicrosoft.com::cd79b54d-c14e-4199-a04a-39c6f592e710" providerId="AD" clId="Web-{F448B036-0349-8976-DAC4-88BE6A4E488E}" dt="2023-11-20T04:33:54.276" v="214" actId="1076"/>
          <ac:spMkLst>
            <pc:docMk/>
            <pc:sldMk cId="1390059426" sldId="726"/>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1:57.570" v="210" actId="1076"/>
        <pc:sldMkLst>
          <pc:docMk/>
          <pc:sldMk cId="3339906105" sldId="727"/>
        </pc:sldMkLst>
        <pc:spChg chg="mod">
          <ac:chgData name="LCaldarelli" userId="S::lcaldarelli_luriechildrens.org#ext#@nuwildcat.onmicrosoft.com::cd79b54d-c14e-4199-a04a-39c6f592e710" providerId="AD" clId="Web-{F448B036-0349-8976-DAC4-88BE6A4E488E}" dt="2023-11-20T04:31:57.570" v="210" actId="1076"/>
          <ac:spMkLst>
            <pc:docMk/>
            <pc:sldMk cId="3339906105" sldId="727"/>
            <ac:spMk id="25" creationId="{6DD46D80-F576-4F56-C047-1645F85E88F8}"/>
          </ac:spMkLst>
        </pc:spChg>
        <pc:spChg chg="mod">
          <ac:chgData name="LCaldarelli" userId="S::lcaldarelli_luriechildrens.org#ext#@nuwildcat.onmicrosoft.com::cd79b54d-c14e-4199-a04a-39c6f592e710" providerId="AD" clId="Web-{F448B036-0349-8976-DAC4-88BE6A4E488E}" dt="2023-11-20T04:31:45.445" v="209" actId="20577"/>
          <ac:spMkLst>
            <pc:docMk/>
            <pc:sldMk cId="3339906105" sldId="727"/>
            <ac:spMk id="26" creationId="{585B113D-37B0-A626-E412-E3D462910528}"/>
          </ac:spMkLst>
        </pc:spChg>
        <pc:spChg chg="mod">
          <ac:chgData name="LCaldarelli" userId="S::lcaldarelli_luriechildrens.org#ext#@nuwildcat.onmicrosoft.com::cd79b54d-c14e-4199-a04a-39c6f592e710" providerId="AD" clId="Web-{F448B036-0349-8976-DAC4-88BE6A4E488E}" dt="2023-11-20T04:31:12.631" v="206" actId="1076"/>
          <ac:spMkLst>
            <pc:docMk/>
            <pc:sldMk cId="3339906105" sldId="727"/>
            <ac:spMk id="28" creationId="{93A8A5E1-3594-CBAC-27AF-5DFAE0C2C2B3}"/>
          </ac:spMkLst>
        </pc:spChg>
      </pc:sldChg>
      <pc:sldChg chg="modSp">
        <pc:chgData name="LCaldarelli" userId="S::lcaldarelli_luriechildrens.org#ext#@nuwildcat.onmicrosoft.com::cd79b54d-c14e-4199-a04a-39c6f592e710" providerId="AD" clId="Web-{F448B036-0349-8976-DAC4-88BE6A4E488E}" dt="2023-11-20T04:30:28.411" v="205" actId="1076"/>
        <pc:sldMkLst>
          <pc:docMk/>
          <pc:sldMk cId="2917591221" sldId="728"/>
        </pc:sldMkLst>
        <pc:spChg chg="mod">
          <ac:chgData name="LCaldarelli" userId="S::lcaldarelli_luriechildrens.org#ext#@nuwildcat.onmicrosoft.com::cd79b54d-c14e-4199-a04a-39c6f592e710" providerId="AD" clId="Web-{F448B036-0349-8976-DAC4-88BE6A4E488E}" dt="2023-11-20T04:29:36.551" v="204" actId="1076"/>
          <ac:spMkLst>
            <pc:docMk/>
            <pc:sldMk cId="2917591221" sldId="728"/>
            <ac:spMk id="2" creationId="{626EF7A8-30AC-3AF9-E10B-D7595223D641}"/>
          </ac:spMkLst>
        </pc:spChg>
        <pc:spChg chg="mod">
          <ac:chgData name="LCaldarelli" userId="S::lcaldarelli_luriechildrens.org#ext#@nuwildcat.onmicrosoft.com::cd79b54d-c14e-4199-a04a-39c6f592e710" providerId="AD" clId="Web-{F448B036-0349-8976-DAC4-88BE6A4E488E}" dt="2023-11-20T04:30:28.411" v="205" actId="1076"/>
          <ac:spMkLst>
            <pc:docMk/>
            <pc:sldMk cId="2917591221" sldId="728"/>
            <ac:spMk id="49" creationId="{1B4056B3-3D40-2836-5998-C6A461A209D5}"/>
          </ac:spMkLst>
        </pc:spChg>
      </pc:sldChg>
      <pc:sldChg chg="modSp">
        <pc:chgData name="LCaldarelli" userId="S::lcaldarelli_luriechildrens.org#ext#@nuwildcat.onmicrosoft.com::cd79b54d-c14e-4199-a04a-39c6f592e710" providerId="AD" clId="Web-{F448B036-0349-8976-DAC4-88BE6A4E488E}" dt="2023-11-20T04:27:26.157" v="194" actId="20577"/>
        <pc:sldMkLst>
          <pc:docMk/>
          <pc:sldMk cId="1617559145" sldId="730"/>
        </pc:sldMkLst>
        <pc:spChg chg="mod">
          <ac:chgData name="LCaldarelli" userId="S::lcaldarelli_luriechildrens.org#ext#@nuwildcat.onmicrosoft.com::cd79b54d-c14e-4199-a04a-39c6f592e710" providerId="AD" clId="Web-{F448B036-0349-8976-DAC4-88BE6A4E488E}" dt="2023-11-20T04:27:26.157" v="194" actId="20577"/>
          <ac:spMkLst>
            <pc:docMk/>
            <pc:sldMk cId="1617559145" sldId="730"/>
            <ac:spMk id="2" creationId="{BB53F377-28A9-F2D5-76A8-8CDE2A9E7535}"/>
          </ac:spMkLst>
        </pc:spChg>
      </pc:sldChg>
      <pc:sldChg chg="modSp">
        <pc:chgData name="LCaldarelli" userId="S::lcaldarelli_luriechildrens.org#ext#@nuwildcat.onmicrosoft.com::cd79b54d-c14e-4199-a04a-39c6f592e710" providerId="AD" clId="Web-{F448B036-0349-8976-DAC4-88BE6A4E488E}" dt="2023-11-20T04:26:25.531" v="184" actId="20577"/>
        <pc:sldMkLst>
          <pc:docMk/>
          <pc:sldMk cId="2888392633" sldId="731"/>
        </pc:sldMkLst>
        <pc:spChg chg="mod">
          <ac:chgData name="LCaldarelli" userId="S::lcaldarelli_luriechildrens.org#ext#@nuwildcat.onmicrosoft.com::cd79b54d-c14e-4199-a04a-39c6f592e710" providerId="AD" clId="Web-{F448B036-0349-8976-DAC4-88BE6A4E488E}" dt="2023-11-20T04:26:25.531" v="184" actId="20577"/>
          <ac:spMkLst>
            <pc:docMk/>
            <pc:sldMk cId="2888392633" sldId="731"/>
            <ac:spMk id="4" creationId="{EA09FBC4-EFF6-9AB4-25A1-D6ED252CED0D}"/>
          </ac:spMkLst>
        </pc:spChg>
      </pc:sldChg>
      <pc:sldChg chg="modSp">
        <pc:chgData name="LCaldarelli" userId="S::lcaldarelli_luriechildrens.org#ext#@nuwildcat.onmicrosoft.com::cd79b54d-c14e-4199-a04a-39c6f592e710" providerId="AD" clId="Web-{F448B036-0349-8976-DAC4-88BE6A4E488E}" dt="2023-11-20T04:24:01.434" v="167" actId="20577"/>
        <pc:sldMkLst>
          <pc:docMk/>
          <pc:sldMk cId="1046854343" sldId="732"/>
        </pc:sldMkLst>
        <pc:spChg chg="mod">
          <ac:chgData name="LCaldarelli" userId="S::lcaldarelli_luriechildrens.org#ext#@nuwildcat.onmicrosoft.com::cd79b54d-c14e-4199-a04a-39c6f592e710" providerId="AD" clId="Web-{F448B036-0349-8976-DAC4-88BE6A4E488E}" dt="2023-11-20T04:24:01.434" v="167" actId="20577"/>
          <ac:spMkLst>
            <pc:docMk/>
            <pc:sldMk cId="1046854343" sldId="732"/>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3:01.464" v="163" actId="1076"/>
        <pc:sldMkLst>
          <pc:docMk/>
          <pc:sldMk cId="1800188643" sldId="733"/>
        </pc:sldMkLst>
        <pc:spChg chg="mod">
          <ac:chgData name="LCaldarelli" userId="S::lcaldarelli_luriechildrens.org#ext#@nuwildcat.onmicrosoft.com::cd79b54d-c14e-4199-a04a-39c6f592e710" providerId="AD" clId="Web-{F448B036-0349-8976-DAC4-88BE6A4E488E}" dt="2023-11-20T04:22:28.666" v="162" actId="1076"/>
          <ac:spMkLst>
            <pc:docMk/>
            <pc:sldMk cId="1800188643" sldId="733"/>
            <ac:spMk id="7" creationId="{EAD90045-A731-42F5-ED3E-D5AE61B97B24}"/>
          </ac:spMkLst>
        </pc:spChg>
        <pc:spChg chg="mod">
          <ac:chgData name="LCaldarelli" userId="S::lcaldarelli_luriechildrens.org#ext#@nuwildcat.onmicrosoft.com::cd79b54d-c14e-4199-a04a-39c6f592e710" providerId="AD" clId="Web-{F448B036-0349-8976-DAC4-88BE6A4E488E}" dt="2023-11-20T04:23:01.464" v="163" actId="1076"/>
          <ac:spMkLst>
            <pc:docMk/>
            <pc:sldMk cId="1800188643" sldId="733"/>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4:22:18.556" v="161" actId="20577"/>
        <pc:sldMkLst>
          <pc:docMk/>
          <pc:sldMk cId="2965389356" sldId="734"/>
        </pc:sldMkLst>
        <pc:spChg chg="mod">
          <ac:chgData name="LCaldarelli" userId="S::lcaldarelli_luriechildrens.org#ext#@nuwildcat.onmicrosoft.com::cd79b54d-c14e-4199-a04a-39c6f592e710" providerId="AD" clId="Web-{F448B036-0349-8976-DAC4-88BE6A4E488E}" dt="2023-11-20T04:22:18.556" v="161" actId="20577"/>
          <ac:spMkLst>
            <pc:docMk/>
            <pc:sldMk cId="2965389356" sldId="734"/>
            <ac:spMk id="7" creationId="{EAD90045-A731-42F5-ED3E-D5AE61B97B24}"/>
          </ac:spMkLst>
        </pc:spChg>
        <pc:spChg chg="mod">
          <ac:chgData name="LCaldarelli" userId="S::lcaldarelli_luriechildrens.org#ext#@nuwildcat.onmicrosoft.com::cd79b54d-c14e-4199-a04a-39c6f592e710" providerId="AD" clId="Web-{F448B036-0349-8976-DAC4-88BE6A4E488E}" dt="2023-11-20T04:21:20.430" v="156" actId="1076"/>
          <ac:spMkLst>
            <pc:docMk/>
            <pc:sldMk cId="2965389356" sldId="734"/>
            <ac:spMk id="16386" creationId="{00000000-0000-0000-0000-000000000000}"/>
          </ac:spMkLst>
        </pc:spChg>
      </pc:sldChg>
      <pc:sldChg chg="modSp">
        <pc:chgData name="LCaldarelli" userId="S::lcaldarelli_luriechildrens.org#ext#@nuwildcat.onmicrosoft.com::cd79b54d-c14e-4199-a04a-39c6f592e710" providerId="AD" clId="Web-{F448B036-0349-8976-DAC4-88BE6A4E488E}" dt="2023-11-20T05:01:58.052" v="316" actId="20577"/>
        <pc:sldMkLst>
          <pc:docMk/>
          <pc:sldMk cId="1811019117" sldId="736"/>
        </pc:sldMkLst>
        <pc:graphicFrameChg chg="modGraphic">
          <ac:chgData name="LCaldarelli" userId="S::lcaldarelli_luriechildrens.org#ext#@nuwildcat.onmicrosoft.com::cd79b54d-c14e-4199-a04a-39c6f592e710" providerId="AD" clId="Web-{F448B036-0349-8976-DAC4-88BE6A4E488E}" dt="2023-11-20T05:01:58.052" v="316" actId="20577"/>
          <ac:graphicFrameMkLst>
            <pc:docMk/>
            <pc:sldMk cId="1811019117" sldId="736"/>
            <ac:graphicFrameMk id="7" creationId="{7A2359A2-13A0-13F8-9703-E546D92B0B98}"/>
          </ac:graphicFrameMkLst>
        </pc:graphicFrameChg>
      </pc:sldChg>
      <pc:sldChg chg="delSp modSp add del">
        <pc:chgData name="LCaldarelli" userId="S::lcaldarelli_luriechildrens.org#ext#@nuwildcat.onmicrosoft.com::cd79b54d-c14e-4199-a04a-39c6f592e710" providerId="AD" clId="Web-{F448B036-0349-8976-DAC4-88BE6A4E488E}" dt="2023-11-20T03:56:21.535" v="68"/>
        <pc:sldMkLst>
          <pc:docMk/>
          <pc:sldMk cId="1186349951" sldId="738"/>
        </pc:sldMkLst>
        <pc:spChg chg="mod">
          <ac:chgData name="LCaldarelli" userId="S::lcaldarelli_luriechildrens.org#ext#@nuwildcat.onmicrosoft.com::cd79b54d-c14e-4199-a04a-39c6f592e710" providerId="AD" clId="Web-{F448B036-0349-8976-DAC4-88BE6A4E488E}" dt="2023-11-20T03:55:29.003" v="60" actId="20577"/>
          <ac:spMkLst>
            <pc:docMk/>
            <pc:sldMk cId="1186349951" sldId="738"/>
            <ac:spMk id="2" creationId="{00000000-0000-0000-0000-000000000000}"/>
          </ac:spMkLst>
        </pc:spChg>
        <pc:spChg chg="mod">
          <ac:chgData name="LCaldarelli" userId="S::lcaldarelli_luriechildrens.org#ext#@nuwildcat.onmicrosoft.com::cd79b54d-c14e-4199-a04a-39c6f592e710" providerId="AD" clId="Web-{F448B036-0349-8976-DAC4-88BE6A4E488E}" dt="2023-11-20T03:50:19.402" v="14" actId="20577"/>
          <ac:spMkLst>
            <pc:docMk/>
            <pc:sldMk cId="1186349951" sldId="738"/>
            <ac:spMk id="3" creationId="{00000000-0000-0000-0000-000000000000}"/>
          </ac:spMkLst>
        </pc:spChg>
        <pc:spChg chg="del mod">
          <ac:chgData name="LCaldarelli" userId="S::lcaldarelli_luriechildrens.org#ext#@nuwildcat.onmicrosoft.com::cd79b54d-c14e-4199-a04a-39c6f592e710" providerId="AD" clId="Web-{F448B036-0349-8976-DAC4-88BE6A4E488E}" dt="2023-11-20T03:51:08.622" v="20"/>
          <ac:spMkLst>
            <pc:docMk/>
            <pc:sldMk cId="1186349951" sldId="738"/>
            <ac:spMk id="7" creationId="{C8F58F52-0A70-3681-BB65-8A08E7169DEB}"/>
          </ac:spMkLst>
        </pc:spChg>
        <pc:picChg chg="mod">
          <ac:chgData name="LCaldarelli" userId="S::lcaldarelli_luriechildrens.org#ext#@nuwildcat.onmicrosoft.com::cd79b54d-c14e-4199-a04a-39c6f592e710" providerId="AD" clId="Web-{F448B036-0349-8976-DAC4-88BE6A4E488E}" dt="2023-11-20T03:49:08.088" v="4" actId="1076"/>
          <ac:picMkLst>
            <pc:docMk/>
            <pc:sldMk cId="1186349951" sldId="738"/>
            <ac:picMk id="5" creationId="{2E1F6A1B-373A-C0EC-B7AA-45256FC2D7CF}"/>
          </ac:picMkLst>
        </pc:picChg>
        <pc:picChg chg="del">
          <ac:chgData name="LCaldarelli" userId="S::lcaldarelli_luriechildrens.org#ext#@nuwildcat.onmicrosoft.com::cd79b54d-c14e-4199-a04a-39c6f592e710" providerId="AD" clId="Web-{F448B036-0349-8976-DAC4-88BE6A4E488E}" dt="2023-11-20T03:48:58.369" v="2"/>
          <ac:picMkLst>
            <pc:docMk/>
            <pc:sldMk cId="1186349951" sldId="738"/>
            <ac:picMk id="6" creationId="{444A105F-3B91-8DA6-ABE2-6E9593561122}"/>
          </ac:picMkLst>
        </pc:picChg>
      </pc:sldChg>
      <pc:sldChg chg="new del">
        <pc:chgData name="LCaldarelli" userId="S::lcaldarelli_luriechildrens.org#ext#@nuwildcat.onmicrosoft.com::cd79b54d-c14e-4199-a04a-39c6f592e710" providerId="AD" clId="Web-{F448B036-0349-8976-DAC4-88BE6A4E488E}" dt="2023-11-20T03:53:21.422" v="34"/>
        <pc:sldMkLst>
          <pc:docMk/>
          <pc:sldMk cId="2564591416" sldId="739"/>
        </pc:sldMkLst>
      </pc:sldChg>
      <pc:sldChg chg="addSp delSp modSp new">
        <pc:chgData name="LCaldarelli" userId="S::lcaldarelli_luriechildrens.org#ext#@nuwildcat.onmicrosoft.com::cd79b54d-c14e-4199-a04a-39c6f592e710" providerId="AD" clId="Web-{F448B036-0349-8976-DAC4-88BE6A4E488E}" dt="2023-11-20T03:59:22.790" v="82" actId="20577"/>
        <pc:sldMkLst>
          <pc:docMk/>
          <pc:sldMk cId="3241722567" sldId="740"/>
        </pc:sldMkLst>
        <pc:spChg chg="mod">
          <ac:chgData name="LCaldarelli" userId="S::lcaldarelli_luriechildrens.org#ext#@nuwildcat.onmicrosoft.com::cd79b54d-c14e-4199-a04a-39c6f592e710" providerId="AD" clId="Web-{F448B036-0349-8976-DAC4-88BE6A4E488E}" dt="2023-11-20T03:56:10.348" v="67" actId="1076"/>
          <ac:spMkLst>
            <pc:docMk/>
            <pc:sldMk cId="3241722567" sldId="740"/>
            <ac:spMk id="2" creationId="{D24FB2C5-4B3C-7E91-CA87-3073F37E77A6}"/>
          </ac:spMkLst>
        </pc:spChg>
        <pc:spChg chg="del">
          <ac:chgData name="LCaldarelli" userId="S::lcaldarelli_luriechildrens.org#ext#@nuwildcat.onmicrosoft.com::cd79b54d-c14e-4199-a04a-39c6f592e710" providerId="AD" clId="Web-{F448B036-0349-8976-DAC4-88BE6A4E488E}" dt="2023-11-20T03:53:34.719" v="35"/>
          <ac:spMkLst>
            <pc:docMk/>
            <pc:sldMk cId="3241722567" sldId="740"/>
            <ac:spMk id="3" creationId="{9812BD77-B078-C023-43DC-8C34F9A3A718}"/>
          </ac:spMkLst>
        </pc:spChg>
        <pc:spChg chg="add mod">
          <ac:chgData name="LCaldarelli" userId="S::lcaldarelli_luriechildrens.org#ext#@nuwildcat.onmicrosoft.com::cd79b54d-c14e-4199-a04a-39c6f592e710" providerId="AD" clId="Web-{F448B036-0349-8976-DAC4-88BE6A4E488E}" dt="2023-11-20T03:59:22.790" v="82" actId="20577"/>
          <ac:spMkLst>
            <pc:docMk/>
            <pc:sldMk cId="3241722567" sldId="740"/>
            <ac:spMk id="8" creationId="{D5D1F0C8-27BB-1F4F-9B28-F7D9F4C8AE47}"/>
          </ac:spMkLst>
        </pc:spChg>
        <pc:picChg chg="add del mod ord">
          <ac:chgData name="LCaldarelli" userId="S::lcaldarelli_luriechildrens.org#ext#@nuwildcat.onmicrosoft.com::cd79b54d-c14e-4199-a04a-39c6f592e710" providerId="AD" clId="Web-{F448B036-0349-8976-DAC4-88BE6A4E488E}" dt="2023-11-20T03:53:44.751" v="36"/>
          <ac:picMkLst>
            <pc:docMk/>
            <pc:sldMk cId="3241722567" sldId="740"/>
            <ac:picMk id="6" creationId="{6A2DB26E-6744-46D7-9B18-327790791C96}"/>
          </ac:picMkLst>
        </pc:picChg>
        <pc:picChg chg="add mod">
          <ac:chgData name="LCaldarelli" userId="S::lcaldarelli_luriechildrens.org#ext#@nuwildcat.onmicrosoft.com::cd79b54d-c14e-4199-a04a-39c6f592e710" providerId="AD" clId="Web-{F448B036-0349-8976-DAC4-88BE6A4E488E}" dt="2023-11-20T03:54:36.861" v="41" actId="1076"/>
          <ac:picMkLst>
            <pc:docMk/>
            <pc:sldMk cId="3241722567" sldId="740"/>
            <ac:picMk id="10" creationId="{27AD21F3-6E15-AA0D-7CE8-DF86AF6A9758}"/>
          </ac:picMkLst>
        </pc:picChg>
      </pc:sldChg>
      <pc:sldChg chg="add replId">
        <pc:chgData name="LCaldarelli" userId="S::lcaldarelli_luriechildrens.org#ext#@nuwildcat.onmicrosoft.com::cd79b54d-c14e-4199-a04a-39c6f592e710" providerId="AD" clId="Web-{F448B036-0349-8976-DAC4-88BE6A4E488E}" dt="2023-11-20T04:44:50.075" v="270"/>
        <pc:sldMkLst>
          <pc:docMk/>
          <pc:sldMk cId="3838522428" sldId="741"/>
        </pc:sldMkLst>
      </pc:sldChg>
      <pc:sldChg chg="modSp add replId">
        <pc:chgData name="LCaldarelli" userId="S::lcaldarelli_luriechildrens.org#ext#@nuwildcat.onmicrosoft.com::cd79b54d-c14e-4199-a04a-39c6f592e710" providerId="AD" clId="Web-{F448B036-0349-8976-DAC4-88BE6A4E488E}" dt="2023-11-20T04:46:55.750" v="287" actId="14100"/>
        <pc:sldMkLst>
          <pc:docMk/>
          <pc:sldMk cId="2759565514" sldId="742"/>
        </pc:sldMkLst>
        <pc:spChg chg="mod">
          <ac:chgData name="LCaldarelli" userId="S::lcaldarelli_luriechildrens.org#ext#@nuwildcat.onmicrosoft.com::cd79b54d-c14e-4199-a04a-39c6f592e710" providerId="AD" clId="Web-{F448B036-0349-8976-DAC4-88BE6A4E488E}" dt="2023-11-20T04:46:55.750" v="287" actId="14100"/>
          <ac:spMkLst>
            <pc:docMk/>
            <pc:sldMk cId="2759565514" sldId="742"/>
            <ac:spMk id="2180" creationId="{00000000-0000-0000-0000-000000000000}"/>
          </ac:spMkLst>
        </pc:spChg>
      </pc:sldChg>
      <pc:sldChg chg="modSp add ord replId">
        <pc:chgData name="LCaldarelli" userId="S::lcaldarelli_luriechildrens.org#ext#@nuwildcat.onmicrosoft.com::cd79b54d-c14e-4199-a04a-39c6f592e710" providerId="AD" clId="Web-{F448B036-0349-8976-DAC4-88BE6A4E488E}" dt="2023-11-20T04:47:59.345" v="290" actId="1076"/>
        <pc:sldMkLst>
          <pc:docMk/>
          <pc:sldMk cId="1077647041" sldId="743"/>
        </pc:sldMkLst>
        <pc:spChg chg="mod">
          <ac:chgData name="LCaldarelli" userId="S::lcaldarelli_luriechildrens.org#ext#@nuwildcat.onmicrosoft.com::cd79b54d-c14e-4199-a04a-39c6f592e710" providerId="AD" clId="Web-{F448B036-0349-8976-DAC4-88BE6A4E488E}" dt="2023-11-20T04:47:59.345" v="290" actId="1076"/>
          <ac:spMkLst>
            <pc:docMk/>
            <pc:sldMk cId="1077647041" sldId="743"/>
            <ac:spMk id="23" creationId="{78B5A3B7-0107-74A6-42BE-EFADF14BEC3D}"/>
          </ac:spMkLst>
        </pc:spChg>
      </pc:sldChg>
      <pc:sldChg chg="add replId">
        <pc:chgData name="LCaldarelli" userId="S::lcaldarelli_luriechildrens.org#ext#@nuwildcat.onmicrosoft.com::cd79b54d-c14e-4199-a04a-39c6f592e710" providerId="AD" clId="Web-{F448B036-0349-8976-DAC4-88BE6A4E488E}" dt="2023-11-20T05:00:10.909" v="312"/>
        <pc:sldMkLst>
          <pc:docMk/>
          <pc:sldMk cId="2424722352" sldId="744"/>
        </pc:sldMkLst>
      </pc:sldChg>
    </pc:docChg>
  </pc:docChgLst>
  <pc:docChgLst>
    <pc:chgData name="Alana Rivera" userId="S::arg3669@ads.northwestern.edu::fc8b707a-b7e9-4f2a-8d71-2d76819b7881" providerId="AD" clId="Web-{35DF06BD-25AA-054F-4D8F-840FED1FA1E6}"/>
    <pc:docChg chg="modSld">
      <pc:chgData name="Alana Rivera" userId="S::arg3669@ads.northwestern.edu::fc8b707a-b7e9-4f2a-8d71-2d76819b7881" providerId="AD" clId="Web-{35DF06BD-25AA-054F-4D8F-840FED1FA1E6}" dt="2023-10-31T02:20:39.446" v="1" actId="20577"/>
      <pc:docMkLst>
        <pc:docMk/>
      </pc:docMkLst>
      <pc:sldChg chg="modSp">
        <pc:chgData name="Alana Rivera" userId="S::arg3669@ads.northwestern.edu::fc8b707a-b7e9-4f2a-8d71-2d76819b7881" providerId="AD" clId="Web-{35DF06BD-25AA-054F-4D8F-840FED1FA1E6}" dt="2023-10-31T02:20:39.446" v="1" actId="20577"/>
        <pc:sldMkLst>
          <pc:docMk/>
          <pc:sldMk cId="1522616096" sldId="555"/>
        </pc:sldMkLst>
        <pc:spChg chg="mod">
          <ac:chgData name="Alana Rivera" userId="S::arg3669@ads.northwestern.edu::fc8b707a-b7e9-4f2a-8d71-2d76819b7881" providerId="AD" clId="Web-{35DF06BD-25AA-054F-4D8F-840FED1FA1E6}" dt="2023-10-31T02:20:39.446" v="1" actId="20577"/>
          <ac:spMkLst>
            <pc:docMk/>
            <pc:sldMk cId="1522616096" sldId="555"/>
            <ac:spMk id="4" creationId="{3D49CA6C-78ED-3124-7EE3-BBDDC9988910}"/>
          </ac:spMkLst>
        </pc:spChg>
      </pc:sldChg>
    </pc:docChg>
  </pc:docChgLst>
  <pc:docChgLst>
    <pc:chgData name="Caldarelli, Leslie" userId="S::lcaldarelli_luriechildrens.org#ext#@nuwildcat.onmicrosoft.com::cd79b54d-c14e-4199-a04a-39c6f592e710" providerId="AD" clId="Web-{96B049F1-23A1-EFBD-700B-2889CC878206}"/>
    <pc:docChg chg="addSld delSld modSld">
      <pc:chgData name="Caldarelli, Leslie" userId="S::lcaldarelli_luriechildrens.org#ext#@nuwildcat.onmicrosoft.com::cd79b54d-c14e-4199-a04a-39c6f592e710" providerId="AD" clId="Web-{96B049F1-23A1-EFBD-700B-2889CC878206}" dt="2023-10-31T04:45:48.858" v="115"/>
      <pc:docMkLst>
        <pc:docMk/>
      </pc:docMkLst>
      <pc:sldChg chg="modSp">
        <pc:chgData name="Caldarelli, Leslie" userId="S::lcaldarelli_luriechildrens.org#ext#@nuwildcat.onmicrosoft.com::cd79b54d-c14e-4199-a04a-39c6f592e710" providerId="AD" clId="Web-{96B049F1-23A1-EFBD-700B-2889CC878206}" dt="2023-10-31T04:36:15.700" v="10" actId="1076"/>
        <pc:sldMkLst>
          <pc:docMk/>
          <pc:sldMk cId="3472964082" sldId="550"/>
        </pc:sldMkLst>
        <pc:spChg chg="mod">
          <ac:chgData name="Caldarelli, Leslie" userId="S::lcaldarelli_luriechildrens.org#ext#@nuwildcat.onmicrosoft.com::cd79b54d-c14e-4199-a04a-39c6f592e710" providerId="AD" clId="Web-{96B049F1-23A1-EFBD-700B-2889CC878206}" dt="2023-10-31T04:36:15.700" v="10" actId="1076"/>
          <ac:spMkLst>
            <pc:docMk/>
            <pc:sldMk cId="3472964082" sldId="550"/>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6:05.231" v="8" actId="14100"/>
        <pc:sldMkLst>
          <pc:docMk/>
          <pc:sldMk cId="2562283095" sldId="551"/>
        </pc:sldMkLst>
        <pc:spChg chg="mod">
          <ac:chgData name="Caldarelli, Leslie" userId="S::lcaldarelli_luriechildrens.org#ext#@nuwildcat.onmicrosoft.com::cd79b54d-c14e-4199-a04a-39c6f592e710" providerId="AD" clId="Web-{96B049F1-23A1-EFBD-700B-2889CC878206}" dt="2023-10-31T04:36:05.231" v="8" actId="14100"/>
          <ac:spMkLst>
            <pc:docMk/>
            <pc:sldMk cId="2562283095" sldId="551"/>
            <ac:spMk id="14"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8:09.080" v="32" actId="1076"/>
        <pc:sldMkLst>
          <pc:docMk/>
          <pc:sldMk cId="714682852" sldId="552"/>
        </pc:sldMkLst>
        <pc:spChg chg="mod">
          <ac:chgData name="Caldarelli, Leslie" userId="S::lcaldarelli_luriechildrens.org#ext#@nuwildcat.onmicrosoft.com::cd79b54d-c14e-4199-a04a-39c6f592e710" providerId="AD" clId="Web-{96B049F1-23A1-EFBD-700B-2889CC878206}" dt="2023-10-31T04:38:09.080" v="32" actId="1076"/>
          <ac:spMkLst>
            <pc:docMk/>
            <pc:sldMk cId="714682852" sldId="552"/>
            <ac:spMk id="6" creationId="{D07E332C-4452-C8D5-59CC-C21023DE9083}"/>
          </ac:spMkLst>
        </pc:spChg>
      </pc:sldChg>
      <pc:sldChg chg="del">
        <pc:chgData name="Caldarelli, Leslie" userId="S::lcaldarelli_luriechildrens.org#ext#@nuwildcat.onmicrosoft.com::cd79b54d-c14e-4199-a04a-39c6f592e710" providerId="AD" clId="Web-{96B049F1-23A1-EFBD-700B-2889CC878206}" dt="2023-10-31T04:43:40.230" v="99"/>
        <pc:sldMkLst>
          <pc:docMk/>
          <pc:sldMk cId="613071383" sldId="561"/>
        </pc:sldMkLst>
      </pc:sldChg>
      <pc:sldChg chg="modSp modNotes">
        <pc:chgData name="Caldarelli, Leslie" userId="S::lcaldarelli_luriechildrens.org#ext#@nuwildcat.onmicrosoft.com::cd79b54d-c14e-4199-a04a-39c6f592e710" providerId="AD" clId="Web-{96B049F1-23A1-EFBD-700B-2889CC878206}" dt="2023-10-31T04:44:16.840" v="109"/>
        <pc:sldMkLst>
          <pc:docMk/>
          <pc:sldMk cId="1141815353" sldId="562"/>
        </pc:sldMkLst>
        <pc:spChg chg="mod">
          <ac:chgData name="Caldarelli, Leslie" userId="S::lcaldarelli_luriechildrens.org#ext#@nuwildcat.onmicrosoft.com::cd79b54d-c14e-4199-a04a-39c6f592e710" providerId="AD" clId="Web-{96B049F1-23A1-EFBD-700B-2889CC878206}" dt="2023-10-31T04:44:11.074" v="108" actId="1076"/>
          <ac:spMkLst>
            <pc:docMk/>
            <pc:sldMk cId="1141815353" sldId="562"/>
            <ac:spMk id="2" creationId="{05579FEB-3306-A04E-6516-F16994F3B0F9}"/>
          </ac:spMkLst>
        </pc:spChg>
      </pc:sldChg>
      <pc:sldChg chg="modSp">
        <pc:chgData name="Caldarelli, Leslie" userId="S::lcaldarelli_luriechildrens.org#ext#@nuwildcat.onmicrosoft.com::cd79b54d-c14e-4199-a04a-39c6f592e710" providerId="AD" clId="Web-{96B049F1-23A1-EFBD-700B-2889CC878206}" dt="2023-10-31T04:35:14.683" v="3" actId="14100"/>
        <pc:sldMkLst>
          <pc:docMk/>
          <pc:sldMk cId="3561966490" sldId="585"/>
        </pc:sldMkLst>
        <pc:spChg chg="mod">
          <ac:chgData name="Caldarelli, Leslie" userId="S::lcaldarelli_luriechildrens.org#ext#@nuwildcat.onmicrosoft.com::cd79b54d-c14e-4199-a04a-39c6f592e710" providerId="AD" clId="Web-{96B049F1-23A1-EFBD-700B-2889CC878206}" dt="2023-10-31T04:35:14.683" v="3" actId="14100"/>
          <ac:spMkLst>
            <pc:docMk/>
            <pc:sldMk cId="3561966490" sldId="585"/>
            <ac:spMk id="19" creationId="{00000000-0000-0000-0000-000000000000}"/>
          </ac:spMkLst>
        </pc:spChg>
      </pc:sldChg>
      <pc:sldChg chg="modSp">
        <pc:chgData name="Caldarelli, Leslie" userId="S::lcaldarelli_luriechildrens.org#ext#@nuwildcat.onmicrosoft.com::cd79b54d-c14e-4199-a04a-39c6f592e710" providerId="AD" clId="Web-{96B049F1-23A1-EFBD-700B-2889CC878206}" dt="2023-10-31T04:35:05.339" v="1" actId="1076"/>
        <pc:sldMkLst>
          <pc:docMk/>
          <pc:sldMk cId="3809547791" sldId="586"/>
        </pc:sldMkLst>
        <pc:spChg chg="mod">
          <ac:chgData name="Caldarelli, Leslie" userId="S::lcaldarelli_luriechildrens.org#ext#@nuwildcat.onmicrosoft.com::cd79b54d-c14e-4199-a04a-39c6f592e710" providerId="AD" clId="Web-{96B049F1-23A1-EFBD-700B-2889CC878206}" dt="2023-10-31T04:34:57.432" v="0" actId="1076"/>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96B049F1-23A1-EFBD-700B-2889CC878206}" dt="2023-10-31T04:35:05.339" v="1" actId="1076"/>
          <ac:spMkLst>
            <pc:docMk/>
            <pc:sldMk cId="3809547791" sldId="586"/>
            <ac:spMk id="47" creationId="{B8E0B5F5-B6A2-711D-2F6F-422E5E01B221}"/>
          </ac:spMkLst>
        </pc:spChg>
      </pc:sldChg>
      <pc:sldChg chg="modNotes">
        <pc:chgData name="Caldarelli, Leslie" userId="S::lcaldarelli_luriechildrens.org#ext#@nuwildcat.onmicrosoft.com::cd79b54d-c14e-4199-a04a-39c6f592e710" providerId="AD" clId="Web-{96B049F1-23A1-EFBD-700B-2889CC878206}" dt="2023-10-31T04:45:48.858" v="115"/>
        <pc:sldMkLst>
          <pc:docMk/>
          <pc:sldMk cId="3557549611" sldId="639"/>
        </pc:sldMkLst>
      </pc:sldChg>
      <pc:sldChg chg="addSp delSp modSp">
        <pc:chgData name="Caldarelli, Leslie" userId="S::lcaldarelli_luriechildrens.org#ext#@nuwildcat.onmicrosoft.com::cd79b54d-c14e-4199-a04a-39c6f592e710" providerId="AD" clId="Web-{96B049F1-23A1-EFBD-700B-2889CC878206}" dt="2023-10-31T04:38:59.597" v="37" actId="1076"/>
        <pc:sldMkLst>
          <pc:docMk/>
          <pc:sldMk cId="2443892533" sldId="643"/>
        </pc:sldMkLst>
        <pc:spChg chg="add del">
          <ac:chgData name="Caldarelli, Leslie" userId="S::lcaldarelli_luriechildrens.org#ext#@nuwildcat.onmicrosoft.com::cd79b54d-c14e-4199-a04a-39c6f592e710" providerId="AD" clId="Web-{96B049F1-23A1-EFBD-700B-2889CC878206}" dt="2023-10-31T04:38:46.097" v="35"/>
          <ac:spMkLst>
            <pc:docMk/>
            <pc:sldMk cId="2443892533" sldId="643"/>
            <ac:spMk id="11" creationId="{581D0C8D-2C93-30F9-7F42-CCAD53566229}"/>
          </ac:spMkLst>
        </pc:spChg>
        <pc:picChg chg="del">
          <ac:chgData name="Caldarelli, Leslie" userId="S::lcaldarelli_luriechildrens.org#ext#@nuwildcat.onmicrosoft.com::cd79b54d-c14e-4199-a04a-39c6f592e710" providerId="AD" clId="Web-{96B049F1-23A1-EFBD-700B-2889CC878206}" dt="2023-10-31T04:38:37.643" v="34"/>
          <ac:picMkLst>
            <pc:docMk/>
            <pc:sldMk cId="2443892533" sldId="643"/>
            <ac:picMk id="6" creationId="{3066B4FD-BDBD-74CF-7224-C3F9CDFF7807}"/>
          </ac:picMkLst>
        </pc:picChg>
        <pc:picChg chg="add mod">
          <ac:chgData name="Caldarelli, Leslie" userId="S::lcaldarelli_luriechildrens.org#ext#@nuwildcat.onmicrosoft.com::cd79b54d-c14e-4199-a04a-39c6f592e710" providerId="AD" clId="Web-{96B049F1-23A1-EFBD-700B-2889CC878206}" dt="2023-10-31T04:38:59.597" v="37" actId="1076"/>
          <ac:picMkLst>
            <pc:docMk/>
            <pc:sldMk cId="2443892533" sldId="643"/>
            <ac:picMk id="12" creationId="{9D8440DA-935D-14D8-8E90-E43A542C29BF}"/>
          </ac:picMkLst>
        </pc:picChg>
      </pc:sldChg>
      <pc:sldChg chg="new del modNotes">
        <pc:chgData name="Caldarelli, Leslie" userId="S::lcaldarelli_luriechildrens.org#ext#@nuwildcat.onmicrosoft.com::cd79b54d-c14e-4199-a04a-39c6f592e710" providerId="AD" clId="Web-{96B049F1-23A1-EFBD-700B-2889CC878206}" dt="2023-10-31T04:40:30.584" v="55"/>
        <pc:sldMkLst>
          <pc:docMk/>
          <pc:sldMk cId="1086780328" sldId="644"/>
        </pc:sldMkLst>
      </pc:sldChg>
      <pc:sldChg chg="new del modNotes">
        <pc:chgData name="Caldarelli, Leslie" userId="S::lcaldarelli_luriechildrens.org#ext#@nuwildcat.onmicrosoft.com::cd79b54d-c14e-4199-a04a-39c6f592e710" providerId="AD" clId="Web-{96B049F1-23A1-EFBD-700B-2889CC878206}" dt="2023-10-31T04:43:35.714" v="98"/>
        <pc:sldMkLst>
          <pc:docMk/>
          <pc:sldMk cId="97814466" sldId="645"/>
        </pc:sldMkLst>
      </pc:sldChg>
      <pc:sldChg chg="modSp add replId modNotes">
        <pc:chgData name="Caldarelli, Leslie" userId="S::lcaldarelli_luriechildrens.org#ext#@nuwildcat.onmicrosoft.com::cd79b54d-c14e-4199-a04a-39c6f592e710" providerId="AD" clId="Web-{96B049F1-23A1-EFBD-700B-2889CC878206}" dt="2023-10-31T04:43:27.510" v="97" actId="20577"/>
        <pc:sldMkLst>
          <pc:docMk/>
          <pc:sldMk cId="226321953" sldId="646"/>
        </pc:sldMkLst>
        <pc:spChg chg="mod">
          <ac:chgData name="Caldarelli, Leslie" userId="S::lcaldarelli_luriechildrens.org#ext#@nuwildcat.onmicrosoft.com::cd79b54d-c14e-4199-a04a-39c6f592e710" providerId="AD" clId="Web-{96B049F1-23A1-EFBD-700B-2889CC878206}" dt="2023-10-31T04:43:27.510" v="97" actId="20577"/>
          <ac:spMkLst>
            <pc:docMk/>
            <pc:sldMk cId="226321953" sldId="646"/>
            <ac:spMk id="2" creationId="{966FAC69-62AA-D40E-C4BD-DAD5BF599C69}"/>
          </ac:spMkLst>
        </pc:spChg>
      </pc:sldChg>
      <pc:sldChg chg="add replId">
        <pc:chgData name="Caldarelli, Leslie" userId="S::lcaldarelli_luriechildrens.org#ext#@nuwildcat.onmicrosoft.com::cd79b54d-c14e-4199-a04a-39c6f592e710" providerId="AD" clId="Web-{96B049F1-23A1-EFBD-700B-2889CC878206}" dt="2023-10-31T04:41:40.695" v="84"/>
        <pc:sldMkLst>
          <pc:docMk/>
          <pc:sldMk cId="1661337475" sldId="647"/>
        </pc:sldMkLst>
      </pc:sldChg>
      <pc:sldChg chg="add replId">
        <pc:chgData name="Caldarelli, Leslie" userId="S::lcaldarelli_luriechildrens.org#ext#@nuwildcat.onmicrosoft.com::cd79b54d-c14e-4199-a04a-39c6f592e710" providerId="AD" clId="Web-{96B049F1-23A1-EFBD-700B-2889CC878206}" dt="2023-10-31T04:42:47.353" v="85"/>
        <pc:sldMkLst>
          <pc:docMk/>
          <pc:sldMk cId="641611787" sldId="648"/>
        </pc:sldMkLst>
      </pc:sldChg>
    </pc:docChg>
  </pc:docChgLst>
  <pc:docChgLst>
    <pc:chgData name="Eileen Fleming Suse" userId="S::efs3844@ads.northwestern.edu::725c94ef-d051-42d7-9d33-8572765d592b" providerId="AD" clId="Web-{22291B7C-EE45-2EE8-551D-82B39F6BC22D}"/>
    <pc:docChg chg="modSld">
      <pc:chgData name="Eileen Fleming Suse" userId="S::efs3844@ads.northwestern.edu::725c94ef-d051-42d7-9d33-8572765d592b" providerId="AD" clId="Web-{22291B7C-EE45-2EE8-551D-82B39F6BC22D}" dt="2023-12-07T15:56:12.990" v="5"/>
      <pc:docMkLst>
        <pc:docMk/>
      </pc:docMkLst>
      <pc:sldChg chg="modSp">
        <pc:chgData name="Eileen Fleming Suse" userId="S::efs3844@ads.northwestern.edu::725c94ef-d051-42d7-9d33-8572765d592b" providerId="AD" clId="Web-{22291B7C-EE45-2EE8-551D-82B39F6BC22D}" dt="2023-12-07T15:55:21.317" v="3" actId="20577"/>
        <pc:sldMkLst>
          <pc:docMk/>
          <pc:sldMk cId="2145715983" sldId="758"/>
        </pc:sldMkLst>
        <pc:spChg chg="mod">
          <ac:chgData name="Eileen Fleming Suse" userId="S::efs3844@ads.northwestern.edu::725c94ef-d051-42d7-9d33-8572765d592b" providerId="AD" clId="Web-{22291B7C-EE45-2EE8-551D-82B39F6BC22D}" dt="2023-12-07T15:55:21.317" v="3" actId="20577"/>
          <ac:spMkLst>
            <pc:docMk/>
            <pc:sldMk cId="2145715983" sldId="758"/>
            <ac:spMk id="2" creationId="{C21F535A-0D87-D453-2ABC-90CBA2A48D47}"/>
          </ac:spMkLst>
        </pc:spChg>
      </pc:sldChg>
      <pc:sldChg chg="modCm">
        <pc:chgData name="Eileen Fleming Suse" userId="S::efs3844@ads.northwestern.edu::725c94ef-d051-42d7-9d33-8572765d592b" providerId="AD" clId="Web-{22291B7C-EE45-2EE8-551D-82B39F6BC22D}" dt="2023-12-07T15:56:12.990" v="5"/>
        <pc:sldMkLst>
          <pc:docMk/>
          <pc:sldMk cId="2801218349" sldId="783"/>
        </pc:sldMkLst>
        <pc:extLst>
          <p:ext xmlns:p="http://schemas.openxmlformats.org/presentationml/2006/main" uri="{D6D511B9-2390-475A-947B-AFAB55BFBCF1}">
            <pc226:cmChg xmlns:pc226="http://schemas.microsoft.com/office/powerpoint/2022/06/main/command" chg="">
              <pc226:chgData name="Eileen Fleming Suse" userId="S::efs3844@ads.northwestern.edu::725c94ef-d051-42d7-9d33-8572765d592b" providerId="AD" clId="Web-{22291B7C-EE45-2EE8-551D-82B39F6BC22D}" dt="2023-12-07T15:56:12.990" v="5"/>
              <pc2:cmMkLst xmlns:pc2="http://schemas.microsoft.com/office/powerpoint/2019/9/main/command">
                <pc:docMk/>
                <pc:sldMk cId="2801218349" sldId="783"/>
                <pc2:cmMk id="{ADB0B8E2-A4C3-4052-BAEC-D1A509747E16}"/>
              </pc2:cmMkLst>
              <pc226:cmRplyChg chg="add">
                <pc226:chgData name="Eileen Fleming Suse" userId="S::efs3844@ads.northwestern.edu::725c94ef-d051-42d7-9d33-8572765d592b" providerId="AD" clId="Web-{22291B7C-EE45-2EE8-551D-82B39F6BC22D}" dt="2023-12-07T15:55:54.942" v="4"/>
                <pc2:cmRplyMkLst xmlns:pc2="http://schemas.microsoft.com/office/powerpoint/2019/9/main/command">
                  <pc:docMk/>
                  <pc:sldMk cId="2801218349" sldId="783"/>
                  <pc2:cmMk id="{ADB0B8E2-A4C3-4052-BAEC-D1A509747E16}"/>
                  <pc2:cmRplyMk id="{23DE7711-D148-4494-8493-1F9F14711D4D}"/>
                </pc2:cmRplyMkLst>
              </pc226:cmRplyChg>
              <pc226:cmRplyChg chg="add">
                <pc226:chgData name="Eileen Fleming Suse" userId="S::efs3844@ads.northwestern.edu::725c94ef-d051-42d7-9d33-8572765d592b" providerId="AD" clId="Web-{22291B7C-EE45-2EE8-551D-82B39F6BC22D}" dt="2023-12-07T15:56:12.990" v="5"/>
                <pc2:cmRplyMkLst xmlns:pc2="http://schemas.microsoft.com/office/powerpoint/2019/9/main/command">
                  <pc:docMk/>
                  <pc:sldMk cId="2801218349" sldId="783"/>
                  <pc2:cmMk id="{ADB0B8E2-A4C3-4052-BAEC-D1A509747E16}"/>
                  <pc2:cmRplyMk id="{06FAB666-8B5F-43E0-B0D9-67C1AEEEF8DC}"/>
                </pc2:cmRplyMkLst>
              </pc226:cmRplyChg>
            </pc226:cmChg>
          </p:ext>
        </pc:extLst>
      </pc:sldChg>
    </pc:docChg>
  </pc:docChgLst>
  <pc:docChgLst>
    <pc:chgData name="Alana Rivera" userId="S::arg3669@ads.northwestern.edu::fc8b707a-b7e9-4f2a-8d71-2d76819b7881" providerId="AD" clId="Web-{B6F32D0F-7EF8-C22A-D4AE-933B4E9674EC}"/>
    <pc:docChg chg="addSld delSld modSld">
      <pc:chgData name="Alana Rivera" userId="S::arg3669@ads.northwestern.edu::fc8b707a-b7e9-4f2a-8d71-2d76819b7881" providerId="AD" clId="Web-{B6F32D0F-7EF8-C22A-D4AE-933B4E9674EC}" dt="2023-10-24T04:39:00.705" v="171" actId="1076"/>
      <pc:docMkLst>
        <pc:docMk/>
      </pc:docMkLst>
      <pc:sldChg chg="addSp delSp modSp">
        <pc:chgData name="Alana Rivera" userId="S::arg3669@ads.northwestern.edu::fc8b707a-b7e9-4f2a-8d71-2d76819b7881" providerId="AD" clId="Web-{B6F32D0F-7EF8-C22A-D4AE-933B4E9674EC}" dt="2023-10-24T03:42:19.146" v="30" actId="1076"/>
        <pc:sldMkLst>
          <pc:docMk/>
          <pc:sldMk cId="3127921386" sldId="280"/>
        </pc:sldMkLst>
        <pc:spChg chg="mod">
          <ac:chgData name="Alana Rivera" userId="S::arg3669@ads.northwestern.edu::fc8b707a-b7e9-4f2a-8d71-2d76819b7881" providerId="AD" clId="Web-{B6F32D0F-7EF8-C22A-D4AE-933B4E9674EC}" dt="2023-10-24T03:41:54.802" v="25" actId="1076"/>
          <ac:spMkLst>
            <pc:docMk/>
            <pc:sldMk cId="3127921386" sldId="280"/>
            <ac:spMk id="3" creationId="{1D742501-F937-8041-84E5-748F96AE991B}"/>
          </ac:spMkLst>
        </pc:spChg>
        <pc:spChg chg="del">
          <ac:chgData name="Alana Rivera" userId="S::arg3669@ads.northwestern.edu::fc8b707a-b7e9-4f2a-8d71-2d76819b7881" providerId="AD" clId="Web-{B6F32D0F-7EF8-C22A-D4AE-933B4E9674EC}" dt="2023-10-24T03:42:06.005" v="26"/>
          <ac:spMkLst>
            <pc:docMk/>
            <pc:sldMk cId="3127921386" sldId="280"/>
            <ac:spMk id="4" creationId="{19922563-64D6-2A4E-B048-13AC25DB45AD}"/>
          </ac:spMkLst>
        </pc:spChg>
        <pc:spChg chg="add del mod">
          <ac:chgData name="Alana Rivera" userId="S::arg3669@ads.northwestern.edu::fc8b707a-b7e9-4f2a-8d71-2d76819b7881" providerId="AD" clId="Web-{B6F32D0F-7EF8-C22A-D4AE-933B4E9674EC}" dt="2023-10-24T03:40:43.425" v="10"/>
          <ac:spMkLst>
            <pc:docMk/>
            <pc:sldMk cId="3127921386" sldId="280"/>
            <ac:spMk id="6" creationId="{E0CA01DF-B159-7E00-0A28-663487A43E23}"/>
          </ac:spMkLst>
        </pc:spChg>
        <pc:spChg chg="add del mod">
          <ac:chgData name="Alana Rivera" userId="S::arg3669@ads.northwestern.edu::fc8b707a-b7e9-4f2a-8d71-2d76819b7881" providerId="AD" clId="Web-{B6F32D0F-7EF8-C22A-D4AE-933B4E9674EC}" dt="2023-10-24T03:42:15.037" v="29"/>
          <ac:spMkLst>
            <pc:docMk/>
            <pc:sldMk cId="3127921386" sldId="280"/>
            <ac:spMk id="8" creationId="{9B053BCB-F81B-7717-0313-99518A680707}"/>
          </ac:spMkLst>
        </pc:spChg>
        <pc:spChg chg="add mod">
          <ac:chgData name="Alana Rivera" userId="S::arg3669@ads.northwestern.edu::fc8b707a-b7e9-4f2a-8d71-2d76819b7881" providerId="AD" clId="Web-{B6F32D0F-7EF8-C22A-D4AE-933B4E9674EC}" dt="2023-10-24T03:42:19.146" v="30" actId="1076"/>
          <ac:spMkLst>
            <pc:docMk/>
            <pc:sldMk cId="3127921386" sldId="280"/>
            <ac:spMk id="9" creationId="{7F20A429-9947-F447-2DF2-A5C17B5C6EC1}"/>
          </ac:spMkLst>
        </pc:spChg>
        <pc:picChg chg="add mod">
          <ac:chgData name="Alana Rivera" userId="S::arg3669@ads.northwestern.edu::fc8b707a-b7e9-4f2a-8d71-2d76819b7881" providerId="AD" clId="Web-{B6F32D0F-7EF8-C22A-D4AE-933B4E9674EC}" dt="2023-10-24T03:41:04.082" v="13" actId="1076"/>
          <ac:picMkLst>
            <pc:docMk/>
            <pc:sldMk cId="3127921386" sldId="280"/>
            <ac:picMk id="2" creationId="{0D7C69D0-240C-8322-D521-66F461EE341B}"/>
          </ac:picMkLst>
        </pc:picChg>
        <pc:picChg chg="del mod">
          <ac:chgData name="Alana Rivera" userId="S::arg3669@ads.northwestern.edu::fc8b707a-b7e9-4f2a-8d71-2d76819b7881" providerId="AD" clId="Web-{B6F32D0F-7EF8-C22A-D4AE-933B4E9674EC}" dt="2023-10-24T03:40:29.909" v="6"/>
          <ac:picMkLst>
            <pc:docMk/>
            <pc:sldMk cId="3127921386" sldId="280"/>
            <ac:picMk id="25" creationId="{AFDEE866-04F7-BF46-8FB4-0968BA571C5D}"/>
          </ac:picMkLst>
        </pc:picChg>
      </pc:sldChg>
      <pc:sldChg chg="del">
        <pc:chgData name="Alana Rivera" userId="S::arg3669@ads.northwestern.edu::fc8b707a-b7e9-4f2a-8d71-2d76819b7881" providerId="AD" clId="Web-{B6F32D0F-7EF8-C22A-D4AE-933B4E9674EC}" dt="2023-10-24T03:20:44.965" v="3"/>
        <pc:sldMkLst>
          <pc:docMk/>
          <pc:sldMk cId="3252939964" sldId="282"/>
        </pc:sldMkLst>
      </pc:sldChg>
      <pc:sldChg chg="modSp">
        <pc:chgData name="Alana Rivera" userId="S::arg3669@ads.northwestern.edu::fc8b707a-b7e9-4f2a-8d71-2d76819b7881" providerId="AD" clId="Web-{B6F32D0F-7EF8-C22A-D4AE-933B4E9674EC}" dt="2023-10-24T03:19:53.541" v="2" actId="20577"/>
        <pc:sldMkLst>
          <pc:docMk/>
          <pc:sldMk cId="4044691067" sldId="283"/>
        </pc:sldMkLst>
        <pc:spChg chg="mod">
          <ac:chgData name="Alana Rivera" userId="S::arg3669@ads.northwestern.edu::fc8b707a-b7e9-4f2a-8d71-2d76819b7881" providerId="AD" clId="Web-{B6F32D0F-7EF8-C22A-D4AE-933B4E9674EC}" dt="2023-10-24T03:19:53.541" v="2" actId="20577"/>
          <ac:spMkLst>
            <pc:docMk/>
            <pc:sldMk cId="4044691067" sldId="283"/>
            <ac:spMk id="3" creationId="{00000000-0000-0000-0000-000000000000}"/>
          </ac:spMkLst>
        </pc:spChg>
      </pc:sldChg>
      <pc:sldChg chg="modSp">
        <pc:chgData name="Alana Rivera" userId="S::arg3669@ads.northwestern.edu::fc8b707a-b7e9-4f2a-8d71-2d76819b7881" providerId="AD" clId="Web-{B6F32D0F-7EF8-C22A-D4AE-933B4E9674EC}" dt="2023-10-24T03:42:36.294" v="31"/>
        <pc:sldMkLst>
          <pc:docMk/>
          <pc:sldMk cId="2338849283" sldId="290"/>
        </pc:sldMkLst>
        <pc:spChg chg="mod">
          <ac:chgData name="Alana Rivera" userId="S::arg3669@ads.northwestern.edu::fc8b707a-b7e9-4f2a-8d71-2d76819b7881" providerId="AD" clId="Web-{B6F32D0F-7EF8-C22A-D4AE-933B4E9674EC}" dt="2023-10-24T03:42:36.294" v="31"/>
          <ac:spMkLst>
            <pc:docMk/>
            <pc:sldMk cId="2338849283" sldId="290"/>
            <ac:spMk id="2" creationId="{04883840-FDEC-E449-F7BA-E78CCEC4DD34}"/>
          </ac:spMkLst>
        </pc:spChg>
      </pc:sldChg>
      <pc:sldChg chg="modSp">
        <pc:chgData name="Alana Rivera" userId="S::arg3669@ads.northwestern.edu::fc8b707a-b7e9-4f2a-8d71-2d76819b7881" providerId="AD" clId="Web-{B6F32D0F-7EF8-C22A-D4AE-933B4E9674EC}" dt="2023-10-24T03:43:25.296" v="46" actId="20577"/>
        <pc:sldMkLst>
          <pc:docMk/>
          <pc:sldMk cId="3635595752" sldId="545"/>
        </pc:sldMkLst>
        <pc:spChg chg="mod">
          <ac:chgData name="Alana Rivera" userId="S::arg3669@ads.northwestern.edu::fc8b707a-b7e9-4f2a-8d71-2d76819b7881" providerId="AD" clId="Web-{B6F32D0F-7EF8-C22A-D4AE-933B4E9674EC}" dt="2023-10-24T03:43:25.296" v="46" actId="20577"/>
          <ac:spMkLst>
            <pc:docMk/>
            <pc:sldMk cId="3635595752" sldId="545"/>
            <ac:spMk id="3" creationId="{BFE56240-A306-0E11-425A-7323821A42F2}"/>
          </ac:spMkLst>
        </pc:spChg>
      </pc:sldChg>
      <pc:sldChg chg="modSp">
        <pc:chgData name="Alana Rivera" userId="S::arg3669@ads.northwestern.edu::fc8b707a-b7e9-4f2a-8d71-2d76819b7881" providerId="AD" clId="Web-{B6F32D0F-7EF8-C22A-D4AE-933B4E9674EC}" dt="2023-10-24T04:10:37.837" v="47" actId="1076"/>
        <pc:sldMkLst>
          <pc:docMk/>
          <pc:sldMk cId="3845418986" sldId="563"/>
        </pc:sldMkLst>
        <pc:spChg chg="mod">
          <ac:chgData name="Alana Rivera" userId="S::arg3669@ads.northwestern.edu::fc8b707a-b7e9-4f2a-8d71-2d76819b7881" providerId="AD" clId="Web-{B6F32D0F-7EF8-C22A-D4AE-933B4E9674EC}" dt="2023-10-24T04:10:37.837" v="47" actId="1076"/>
          <ac:spMkLst>
            <pc:docMk/>
            <pc:sldMk cId="3845418986" sldId="563"/>
            <ac:spMk id="44" creationId="{00000000-0000-0000-0000-000000000000}"/>
          </ac:spMkLst>
        </pc:spChg>
      </pc:sldChg>
      <pc:sldChg chg="addSp modSp add">
        <pc:chgData name="Alana Rivera" userId="S::arg3669@ads.northwestern.edu::fc8b707a-b7e9-4f2a-8d71-2d76819b7881" providerId="AD" clId="Web-{B6F32D0F-7EF8-C22A-D4AE-933B4E9674EC}" dt="2023-10-24T04:27:47.156" v="116" actId="1076"/>
        <pc:sldMkLst>
          <pc:docMk/>
          <pc:sldMk cId="2564870475" sldId="566"/>
        </pc:sldMkLst>
        <pc:spChg chg="mod">
          <ac:chgData name="Alana Rivera" userId="S::arg3669@ads.northwestern.edu::fc8b707a-b7e9-4f2a-8d71-2d76819b7881" providerId="AD" clId="Web-{B6F32D0F-7EF8-C22A-D4AE-933B4E9674EC}" dt="2023-10-24T04:22:26.665" v="60" actId="1076"/>
          <ac:spMkLst>
            <pc:docMk/>
            <pc:sldMk cId="2564870475" sldId="566"/>
            <ac:spMk id="2" creationId="{00000000-0000-0000-0000-000000000000}"/>
          </ac:spMkLst>
        </pc:spChg>
        <pc:spChg chg="mod">
          <ac:chgData name="Alana Rivera" userId="S::arg3669@ads.northwestern.edu::fc8b707a-b7e9-4f2a-8d71-2d76819b7881" providerId="AD" clId="Web-{B6F32D0F-7EF8-C22A-D4AE-933B4E9674EC}" dt="2023-10-24T04:22:32.259" v="61" actId="1076"/>
          <ac:spMkLst>
            <pc:docMk/>
            <pc:sldMk cId="2564870475" sldId="566"/>
            <ac:spMk id="12" creationId="{00000000-0000-0000-0000-000000000000}"/>
          </ac:spMkLst>
        </pc:spChg>
        <pc:spChg chg="mod">
          <ac:chgData name="Alana Rivera" userId="S::arg3669@ads.northwestern.edu::fc8b707a-b7e9-4f2a-8d71-2d76819b7881" providerId="AD" clId="Web-{B6F32D0F-7EF8-C22A-D4AE-933B4E9674EC}" dt="2023-10-24T04:22:35.009" v="62" actId="1076"/>
          <ac:spMkLst>
            <pc:docMk/>
            <pc:sldMk cId="2564870475" sldId="566"/>
            <ac:spMk id="15" creationId="{00000000-0000-0000-0000-000000000000}"/>
          </ac:spMkLst>
        </pc:spChg>
        <pc:spChg chg="add mod">
          <ac:chgData name="Alana Rivera" userId="S::arg3669@ads.northwestern.edu::fc8b707a-b7e9-4f2a-8d71-2d76819b7881" providerId="AD" clId="Web-{B6F32D0F-7EF8-C22A-D4AE-933B4E9674EC}" dt="2023-10-24T04:22:38.759" v="63" actId="1076"/>
          <ac:spMkLst>
            <pc:docMk/>
            <pc:sldMk cId="2564870475" sldId="566"/>
            <ac:spMk id="23" creationId="{78B5A3B7-0107-74A6-42BE-EFADF14BEC3D}"/>
          </ac:spMkLst>
        </pc:spChg>
        <pc:picChg chg="add mod">
          <ac:chgData name="Alana Rivera" userId="S::arg3669@ads.northwestern.edu::fc8b707a-b7e9-4f2a-8d71-2d76819b7881" providerId="AD" clId="Web-{B6F32D0F-7EF8-C22A-D4AE-933B4E9674EC}" dt="2023-10-24T04:27:47.156" v="116" actId="1076"/>
          <ac:picMkLst>
            <pc:docMk/>
            <pc:sldMk cId="2564870475" sldId="566"/>
            <ac:picMk id="24" creationId="{BB2CB55F-0790-7175-FF6E-777FF2A900CC}"/>
          </ac:picMkLst>
        </pc:picChg>
      </pc:sldChg>
      <pc:sldChg chg="addSp delSp modSp add del replId">
        <pc:chgData name="Alana Rivera" userId="S::arg3669@ads.northwestern.edu::fc8b707a-b7e9-4f2a-8d71-2d76819b7881" providerId="AD" clId="Web-{B6F32D0F-7EF8-C22A-D4AE-933B4E9674EC}" dt="2023-10-24T04:39:00.705" v="171" actId="1076"/>
        <pc:sldMkLst>
          <pc:docMk/>
          <pc:sldMk cId="310672773" sldId="567"/>
        </pc:sldMkLst>
        <pc:spChg chg="mod">
          <ac:chgData name="Alana Rivera" userId="S::arg3669@ads.northwestern.edu::fc8b707a-b7e9-4f2a-8d71-2d76819b7881" providerId="AD" clId="Web-{B6F32D0F-7EF8-C22A-D4AE-933B4E9674EC}" dt="2023-10-24T04:27:59.609" v="118" actId="1076"/>
          <ac:spMkLst>
            <pc:docMk/>
            <pc:sldMk cId="310672773" sldId="567"/>
            <ac:spMk id="24" creationId="{00000000-0000-0000-0000-000000000000}"/>
          </ac:spMkLst>
        </pc:spChg>
        <pc:spChg chg="mod">
          <ac:chgData name="Alana Rivera" userId="S::arg3669@ads.northwestern.edu::fc8b707a-b7e9-4f2a-8d71-2d76819b7881" providerId="AD" clId="Web-{B6F32D0F-7EF8-C22A-D4AE-933B4E9674EC}" dt="2023-10-24T04:28:20.360" v="121" actId="1076"/>
          <ac:spMkLst>
            <pc:docMk/>
            <pc:sldMk cId="310672773" sldId="567"/>
            <ac:spMk id="25" creationId="{00000000-0000-0000-0000-000000000000}"/>
          </ac:spMkLst>
        </pc:spChg>
        <pc:spChg chg="del">
          <ac:chgData name="Alana Rivera" userId="S::arg3669@ads.northwestern.edu::fc8b707a-b7e9-4f2a-8d71-2d76819b7881" providerId="AD" clId="Web-{B6F32D0F-7EF8-C22A-D4AE-933B4E9674EC}" dt="2023-10-24T04:23:18.681" v="68"/>
          <ac:spMkLst>
            <pc:docMk/>
            <pc:sldMk cId="310672773" sldId="567"/>
            <ac:spMk id="26" creationId="{00000000-0000-0000-0000-000000000000}"/>
          </ac:spMkLst>
        </pc:spChg>
        <pc:spChg chg="del">
          <ac:chgData name="Alana Rivera" userId="S::arg3669@ads.northwestern.edu::fc8b707a-b7e9-4f2a-8d71-2d76819b7881" providerId="AD" clId="Web-{B6F32D0F-7EF8-C22A-D4AE-933B4E9674EC}" dt="2023-10-24T04:23:44.541" v="72"/>
          <ac:spMkLst>
            <pc:docMk/>
            <pc:sldMk cId="310672773" sldId="567"/>
            <ac:spMk id="27" creationId="{00000000-0000-0000-0000-000000000000}"/>
          </ac:spMkLst>
        </pc:spChg>
        <pc:spChg chg="del">
          <ac:chgData name="Alana Rivera" userId="S::arg3669@ads.northwestern.edu::fc8b707a-b7e9-4f2a-8d71-2d76819b7881" providerId="AD" clId="Web-{B6F32D0F-7EF8-C22A-D4AE-933B4E9674EC}" dt="2023-10-24T04:23:54.120" v="77"/>
          <ac:spMkLst>
            <pc:docMk/>
            <pc:sldMk cId="310672773" sldId="567"/>
            <ac:spMk id="28" creationId="{00000000-0000-0000-0000-000000000000}"/>
          </ac:spMkLst>
        </pc:spChg>
        <pc:spChg chg="del">
          <ac:chgData name="Alana Rivera" userId="S::arg3669@ads.northwestern.edu::fc8b707a-b7e9-4f2a-8d71-2d76819b7881" providerId="AD" clId="Web-{B6F32D0F-7EF8-C22A-D4AE-933B4E9674EC}" dt="2023-10-24T04:24:20.777" v="92"/>
          <ac:spMkLst>
            <pc:docMk/>
            <pc:sldMk cId="310672773" sldId="567"/>
            <ac:spMk id="29" creationId="{00000000-0000-0000-0000-000000000000}"/>
          </ac:spMkLst>
        </pc:spChg>
        <pc:spChg chg="del">
          <ac:chgData name="Alana Rivera" userId="S::arg3669@ads.northwestern.edu::fc8b707a-b7e9-4f2a-8d71-2d76819b7881" providerId="AD" clId="Web-{B6F32D0F-7EF8-C22A-D4AE-933B4E9674EC}" dt="2023-10-24T04:24:00.464" v="81"/>
          <ac:spMkLst>
            <pc:docMk/>
            <pc:sldMk cId="310672773" sldId="567"/>
            <ac:spMk id="30" creationId="{00000000-0000-0000-0000-000000000000}"/>
          </ac:spMkLst>
        </pc:spChg>
        <pc:spChg chg="del">
          <ac:chgData name="Alana Rivera" userId="S::arg3669@ads.northwestern.edu::fc8b707a-b7e9-4f2a-8d71-2d76819b7881" providerId="AD" clId="Web-{B6F32D0F-7EF8-C22A-D4AE-933B4E9674EC}" dt="2023-10-24T04:24:14.964" v="88"/>
          <ac:spMkLst>
            <pc:docMk/>
            <pc:sldMk cId="310672773" sldId="567"/>
            <ac:spMk id="32" creationId="{00000000-0000-0000-0000-000000000000}"/>
          </ac:spMkLst>
        </pc:spChg>
        <pc:spChg chg="del mod">
          <ac:chgData name="Alana Rivera" userId="S::arg3669@ads.northwestern.edu::fc8b707a-b7e9-4f2a-8d71-2d76819b7881" providerId="AD" clId="Web-{B6F32D0F-7EF8-C22A-D4AE-933B4E9674EC}" dt="2023-10-24T04:23:44.651" v="74"/>
          <ac:spMkLst>
            <pc:docMk/>
            <pc:sldMk cId="310672773" sldId="567"/>
            <ac:spMk id="33" creationId="{00000000-0000-0000-0000-000000000000}"/>
          </ac:spMkLst>
        </pc:spChg>
        <pc:spChg chg="del">
          <ac:chgData name="Alana Rivera" userId="S::arg3669@ads.northwestern.edu::fc8b707a-b7e9-4f2a-8d71-2d76819b7881" providerId="AD" clId="Web-{B6F32D0F-7EF8-C22A-D4AE-933B4E9674EC}" dt="2023-10-24T04:23:45.291" v="75"/>
          <ac:spMkLst>
            <pc:docMk/>
            <pc:sldMk cId="310672773" sldId="567"/>
            <ac:spMk id="34" creationId="{00000000-0000-0000-0000-000000000000}"/>
          </ac:spMkLst>
        </pc:spChg>
        <pc:spChg chg="del">
          <ac:chgData name="Alana Rivera" userId="S::arg3669@ads.northwestern.edu::fc8b707a-b7e9-4f2a-8d71-2d76819b7881" providerId="AD" clId="Web-{B6F32D0F-7EF8-C22A-D4AE-933B4E9674EC}" dt="2023-10-24T04:23:50.291" v="76"/>
          <ac:spMkLst>
            <pc:docMk/>
            <pc:sldMk cId="310672773" sldId="567"/>
            <ac:spMk id="35" creationId="{00000000-0000-0000-0000-000000000000}"/>
          </ac:spMkLst>
        </pc:spChg>
        <pc:spChg chg="del">
          <ac:chgData name="Alana Rivera" userId="S::arg3669@ads.northwestern.edu::fc8b707a-b7e9-4f2a-8d71-2d76819b7881" providerId="AD" clId="Web-{B6F32D0F-7EF8-C22A-D4AE-933B4E9674EC}" dt="2023-10-24T04:24:25.667" v="95"/>
          <ac:spMkLst>
            <pc:docMk/>
            <pc:sldMk cId="310672773" sldId="567"/>
            <ac:spMk id="36" creationId="{00000000-0000-0000-0000-000000000000}"/>
          </ac:spMkLst>
        </pc:spChg>
        <pc:spChg chg="del">
          <ac:chgData name="Alana Rivera" userId="S::arg3669@ads.northwestern.edu::fc8b707a-b7e9-4f2a-8d71-2d76819b7881" providerId="AD" clId="Web-{B6F32D0F-7EF8-C22A-D4AE-933B4E9674EC}" dt="2023-10-24T04:24:24.511" v="94"/>
          <ac:spMkLst>
            <pc:docMk/>
            <pc:sldMk cId="310672773" sldId="567"/>
            <ac:spMk id="37" creationId="{00000000-0000-0000-0000-000000000000}"/>
          </ac:spMkLst>
        </pc:spChg>
        <pc:spChg chg="del">
          <ac:chgData name="Alana Rivera" userId="S::arg3669@ads.northwestern.edu::fc8b707a-b7e9-4f2a-8d71-2d76819b7881" providerId="AD" clId="Web-{B6F32D0F-7EF8-C22A-D4AE-933B4E9674EC}" dt="2023-10-24T04:24:04.448" v="84"/>
          <ac:spMkLst>
            <pc:docMk/>
            <pc:sldMk cId="310672773" sldId="567"/>
            <ac:spMk id="38" creationId="{00000000-0000-0000-0000-000000000000}"/>
          </ac:spMkLst>
        </pc:spChg>
        <pc:spChg chg="del">
          <ac:chgData name="Alana Rivera" userId="S::arg3669@ads.northwestern.edu::fc8b707a-b7e9-4f2a-8d71-2d76819b7881" providerId="AD" clId="Web-{B6F32D0F-7EF8-C22A-D4AE-933B4E9674EC}" dt="2023-10-24T04:24:04.339" v="83"/>
          <ac:spMkLst>
            <pc:docMk/>
            <pc:sldMk cId="310672773" sldId="567"/>
            <ac:spMk id="39" creationId="{00000000-0000-0000-0000-000000000000}"/>
          </ac:spMkLst>
        </pc:spChg>
        <pc:spChg chg="del">
          <ac:chgData name="Alana Rivera" userId="S::arg3669@ads.northwestern.edu::fc8b707a-b7e9-4f2a-8d71-2d76819b7881" providerId="AD" clId="Web-{B6F32D0F-7EF8-C22A-D4AE-933B4E9674EC}" dt="2023-10-24T04:24:10.636" v="86"/>
          <ac:spMkLst>
            <pc:docMk/>
            <pc:sldMk cId="310672773" sldId="567"/>
            <ac:spMk id="40" creationId="{00000000-0000-0000-0000-000000000000}"/>
          </ac:spMkLst>
        </pc:spChg>
        <pc:spChg chg="del">
          <ac:chgData name="Alana Rivera" userId="S::arg3669@ads.northwestern.edu::fc8b707a-b7e9-4f2a-8d71-2d76819b7881" providerId="AD" clId="Web-{B6F32D0F-7EF8-C22A-D4AE-933B4E9674EC}" dt="2023-10-24T04:24:05.776" v="85"/>
          <ac:spMkLst>
            <pc:docMk/>
            <pc:sldMk cId="310672773" sldId="567"/>
            <ac:spMk id="41" creationId="{00000000-0000-0000-0000-000000000000}"/>
          </ac:spMkLst>
        </pc:spChg>
        <pc:spChg chg="del">
          <ac:chgData name="Alana Rivera" userId="S::arg3669@ads.northwestern.edu::fc8b707a-b7e9-4f2a-8d71-2d76819b7881" providerId="AD" clId="Web-{B6F32D0F-7EF8-C22A-D4AE-933B4E9674EC}" dt="2023-10-24T04:24:15.058" v="90"/>
          <ac:spMkLst>
            <pc:docMk/>
            <pc:sldMk cId="310672773" sldId="567"/>
            <ac:spMk id="42" creationId="{00000000-0000-0000-0000-000000000000}"/>
          </ac:spMkLst>
        </pc:spChg>
        <pc:spChg chg="del">
          <ac:chgData name="Alana Rivera" userId="S::arg3669@ads.northwestern.edu::fc8b707a-b7e9-4f2a-8d71-2d76819b7881" providerId="AD" clId="Web-{B6F32D0F-7EF8-C22A-D4AE-933B4E9674EC}" dt="2023-10-24T04:24:16.573" v="91"/>
          <ac:spMkLst>
            <pc:docMk/>
            <pc:sldMk cId="310672773" sldId="567"/>
            <ac:spMk id="43" creationId="{00000000-0000-0000-0000-000000000000}"/>
          </ac:spMkLst>
        </pc:spChg>
        <pc:spChg chg="mod">
          <ac:chgData name="Alana Rivera" userId="S::arg3669@ads.northwestern.edu::fc8b707a-b7e9-4f2a-8d71-2d76819b7881" providerId="AD" clId="Web-{B6F32D0F-7EF8-C22A-D4AE-933B4E9674EC}" dt="2023-10-24T04:28:16.641" v="120" actId="1076"/>
          <ac:spMkLst>
            <pc:docMk/>
            <pc:sldMk cId="310672773" sldId="567"/>
            <ac:spMk id="44" creationId="{00000000-0000-0000-0000-000000000000}"/>
          </ac:spMkLst>
        </pc:spChg>
        <pc:spChg chg="mod">
          <ac:chgData name="Alana Rivera" userId="S::arg3669@ads.northwestern.edu::fc8b707a-b7e9-4f2a-8d71-2d76819b7881" providerId="AD" clId="Web-{B6F32D0F-7EF8-C22A-D4AE-933B4E9674EC}" dt="2023-10-24T04:39:00.705" v="171" actId="1076"/>
          <ac:spMkLst>
            <pc:docMk/>
            <pc:sldMk cId="310672773" sldId="567"/>
            <ac:spMk id="45" creationId="{00000000-0000-0000-0000-000000000000}"/>
          </ac:spMkLst>
        </pc:spChg>
        <pc:spChg chg="del">
          <ac:chgData name="Alana Rivera" userId="S::arg3669@ads.northwestern.edu::fc8b707a-b7e9-4f2a-8d71-2d76819b7881" providerId="AD" clId="Web-{B6F32D0F-7EF8-C22A-D4AE-933B4E9674EC}" dt="2023-10-24T04:23:54.292" v="79"/>
          <ac:spMkLst>
            <pc:docMk/>
            <pc:sldMk cId="310672773" sldId="567"/>
            <ac:spMk id="46" creationId="{00000000-0000-0000-0000-000000000000}"/>
          </ac:spMkLst>
        </pc:spChg>
        <pc:spChg chg="del">
          <ac:chgData name="Alana Rivera" userId="S::arg3669@ads.northwestern.edu::fc8b707a-b7e9-4f2a-8d71-2d76819b7881" providerId="AD" clId="Web-{B6F32D0F-7EF8-C22A-D4AE-933B4E9674EC}" dt="2023-10-24T04:23:44.604" v="73"/>
          <ac:spMkLst>
            <pc:docMk/>
            <pc:sldMk cId="310672773" sldId="567"/>
            <ac:spMk id="47" creationId="{00000000-0000-0000-0000-000000000000}"/>
          </ac:spMkLst>
        </pc:spChg>
        <pc:spChg chg="del">
          <ac:chgData name="Alana Rivera" userId="S::arg3669@ads.northwestern.edu::fc8b707a-b7e9-4f2a-8d71-2d76819b7881" providerId="AD" clId="Web-{B6F32D0F-7EF8-C22A-D4AE-933B4E9674EC}" dt="2023-10-24T04:23:24.260" v="69"/>
          <ac:spMkLst>
            <pc:docMk/>
            <pc:sldMk cId="310672773" sldId="567"/>
            <ac:spMk id="48" creationId="{00000000-0000-0000-0000-000000000000}"/>
          </ac:spMkLst>
        </pc:spChg>
        <pc:spChg chg="del mod">
          <ac:chgData name="Alana Rivera" userId="S::arg3669@ads.northwestern.edu::fc8b707a-b7e9-4f2a-8d71-2d76819b7881" providerId="AD" clId="Web-{B6F32D0F-7EF8-C22A-D4AE-933B4E9674EC}" dt="2023-10-24T04:38:51.142" v="170"/>
          <ac:spMkLst>
            <pc:docMk/>
            <pc:sldMk cId="310672773" sldId="567"/>
            <ac:spMk id="49" creationId="{00000000-0000-0000-0000-000000000000}"/>
          </ac:spMkLst>
        </pc:spChg>
        <pc:spChg chg="add mod">
          <ac:chgData name="Alana Rivera" userId="S::arg3669@ads.northwestern.edu::fc8b707a-b7e9-4f2a-8d71-2d76819b7881" providerId="AD" clId="Web-{B6F32D0F-7EF8-C22A-D4AE-933B4E9674EC}" dt="2023-10-24T04:36:55.296" v="154" actId="14100"/>
          <ac:spMkLst>
            <pc:docMk/>
            <pc:sldMk cId="310672773" sldId="567"/>
            <ac:spMk id="50" creationId="{95B469C3-D645-40A9-B8DD-54193E200864}"/>
          </ac:spMkLst>
        </pc:spChg>
        <pc:spChg chg="add mod">
          <ac:chgData name="Alana Rivera" userId="S::arg3669@ads.northwestern.edu::fc8b707a-b7e9-4f2a-8d71-2d76819b7881" providerId="AD" clId="Web-{B6F32D0F-7EF8-C22A-D4AE-933B4E9674EC}" dt="2023-10-24T04:38:00.282" v="165" actId="20577"/>
          <ac:spMkLst>
            <pc:docMk/>
            <pc:sldMk cId="310672773" sldId="567"/>
            <ac:spMk id="51" creationId="{30D625CB-EE41-128F-FC0A-4E5883BC18EC}"/>
          </ac:spMkLst>
        </pc:spChg>
        <pc:spChg chg="add mod">
          <ac:chgData name="Alana Rivera" userId="S::arg3669@ads.northwestern.edu::fc8b707a-b7e9-4f2a-8d71-2d76819b7881" providerId="AD" clId="Web-{B6F32D0F-7EF8-C22A-D4AE-933B4E9674EC}" dt="2023-10-24T04:37:30.500" v="158" actId="1076"/>
          <ac:spMkLst>
            <pc:docMk/>
            <pc:sldMk cId="310672773" sldId="567"/>
            <ac:spMk id="52" creationId="{E8A77D57-8EE2-88D3-5381-D8E92995DA02}"/>
          </ac:spMkLst>
        </pc:spChg>
        <pc:spChg chg="add mod">
          <ac:chgData name="Alana Rivera" userId="S::arg3669@ads.northwestern.edu::fc8b707a-b7e9-4f2a-8d71-2d76819b7881" providerId="AD" clId="Web-{B6F32D0F-7EF8-C22A-D4AE-933B4E9674EC}" dt="2023-10-24T04:38:40.939" v="168"/>
          <ac:spMkLst>
            <pc:docMk/>
            <pc:sldMk cId="310672773" sldId="567"/>
            <ac:spMk id="53" creationId="{FBAF7918-02CE-7D9C-B338-0825A2E5C3E6}"/>
          </ac:spMkLst>
        </pc:spChg>
        <pc:grpChg chg="del">
          <ac:chgData name="Alana Rivera" userId="S::arg3669@ads.northwestern.edu::fc8b707a-b7e9-4f2a-8d71-2d76819b7881" providerId="AD" clId="Web-{B6F32D0F-7EF8-C22A-D4AE-933B4E9674EC}" dt="2023-10-24T04:23:55.401" v="80"/>
          <ac:grpSpMkLst>
            <pc:docMk/>
            <pc:sldMk cId="310672773" sldId="567"/>
            <ac:grpSpMk id="2" creationId="{00000000-0000-0000-0000-000000000000}"/>
          </ac:grpSpMkLst>
        </pc:grpChg>
        <pc:grpChg chg="del">
          <ac:chgData name="Alana Rivera" userId="S::arg3669@ads.northwestern.edu::fc8b707a-b7e9-4f2a-8d71-2d76819b7881" providerId="AD" clId="Web-{B6F32D0F-7EF8-C22A-D4AE-933B4E9674EC}" dt="2023-10-24T04:23:40.604" v="71"/>
          <ac:grpSpMkLst>
            <pc:docMk/>
            <pc:sldMk cId="310672773" sldId="567"/>
            <ac:grpSpMk id="5" creationId="{00000000-0000-0000-0000-000000000000}"/>
          </ac:grpSpMkLst>
        </pc:grpChg>
        <pc:grpChg chg="del">
          <ac:chgData name="Alana Rivera" userId="S::arg3669@ads.northwestern.edu::fc8b707a-b7e9-4f2a-8d71-2d76819b7881" providerId="AD" clId="Web-{B6F32D0F-7EF8-C22A-D4AE-933B4E9674EC}" dt="2023-10-24T04:24:04.292" v="82"/>
          <ac:grpSpMkLst>
            <pc:docMk/>
            <pc:sldMk cId="310672773" sldId="567"/>
            <ac:grpSpMk id="8" creationId="{00000000-0000-0000-0000-000000000000}"/>
          </ac:grpSpMkLst>
        </pc:grpChg>
        <pc:grpChg chg="del">
          <ac:chgData name="Alana Rivera" userId="S::arg3669@ads.northwestern.edu::fc8b707a-b7e9-4f2a-8d71-2d76819b7881" providerId="AD" clId="Web-{B6F32D0F-7EF8-C22A-D4AE-933B4E9674EC}" dt="2023-10-24T04:23:54.245" v="78"/>
          <ac:grpSpMkLst>
            <pc:docMk/>
            <pc:sldMk cId="310672773" sldId="567"/>
            <ac:grpSpMk id="11" creationId="{00000000-0000-0000-0000-000000000000}"/>
          </ac:grpSpMkLst>
        </pc:grpChg>
        <pc:grpChg chg="del">
          <ac:chgData name="Alana Rivera" userId="S::arg3669@ads.northwestern.edu::fc8b707a-b7e9-4f2a-8d71-2d76819b7881" providerId="AD" clId="Web-{B6F32D0F-7EF8-C22A-D4AE-933B4E9674EC}" dt="2023-10-24T04:24:14.870" v="87"/>
          <ac:grpSpMkLst>
            <pc:docMk/>
            <pc:sldMk cId="310672773" sldId="567"/>
            <ac:grpSpMk id="14" creationId="{00000000-0000-0000-0000-000000000000}"/>
          </ac:grpSpMkLst>
        </pc:grpChg>
        <pc:grpChg chg="del">
          <ac:chgData name="Alana Rivera" userId="S::arg3669@ads.northwestern.edu::fc8b707a-b7e9-4f2a-8d71-2d76819b7881" providerId="AD" clId="Web-{B6F32D0F-7EF8-C22A-D4AE-933B4E9674EC}" dt="2023-10-24T04:24:24.448" v="93"/>
          <ac:grpSpMkLst>
            <pc:docMk/>
            <pc:sldMk cId="310672773" sldId="567"/>
            <ac:grpSpMk id="17" creationId="{00000000-0000-0000-0000-000000000000}"/>
          </ac:grpSpMkLst>
        </pc:grpChg>
        <pc:grpChg chg="del">
          <ac:chgData name="Alana Rivera" userId="S::arg3669@ads.northwestern.edu::fc8b707a-b7e9-4f2a-8d71-2d76819b7881" providerId="AD" clId="Web-{B6F32D0F-7EF8-C22A-D4AE-933B4E9674EC}" dt="2023-10-24T04:24:14.980" v="89"/>
          <ac:grpSpMkLst>
            <pc:docMk/>
            <pc:sldMk cId="310672773" sldId="567"/>
            <ac:grpSpMk id="20" creationId="{00000000-0000-0000-0000-000000000000}"/>
          </ac:grpSpMkLst>
        </pc:grpChg>
      </pc:sldChg>
    </pc:docChg>
  </pc:docChgLst>
  <pc:docChgLst>
    <pc:chgData name="Eileen Fleming Suse" userId="S::efs3844@ads.northwestern.edu::725c94ef-d051-42d7-9d33-8572765d592b" providerId="AD" clId="Web-{525C70A3-2AD6-57EA-9F7E-A6FC0841DEBD}"/>
    <pc:docChg chg="mod addSld modSld sldOrd">
      <pc:chgData name="Eileen Fleming Suse" userId="S::efs3844@ads.northwestern.edu::725c94ef-d051-42d7-9d33-8572765d592b" providerId="AD" clId="Web-{525C70A3-2AD6-57EA-9F7E-A6FC0841DEBD}" dt="2023-10-23T23:00:26.391" v="20"/>
      <pc:docMkLst>
        <pc:docMk/>
      </pc:docMkLst>
      <pc:sldChg chg="addCm">
        <pc:chgData name="Eileen Fleming Suse" userId="S::efs3844@ads.northwestern.edu::725c94ef-d051-42d7-9d33-8572765d592b" providerId="AD" clId="Web-{525C70A3-2AD6-57EA-9F7E-A6FC0841DEBD}" dt="2023-10-23T18:53:43.980" v="2"/>
        <pc:sldMkLst>
          <pc:docMk/>
          <pc:sldMk cId="2351229145" sldId="544"/>
        </pc:sldMkLst>
        <pc:extLst>
          <p:ext xmlns:p="http://schemas.openxmlformats.org/presentationml/2006/main" uri="{D6D511B9-2390-475A-947B-AFAB55BFBCF1}">
            <pc226:cmChg xmlns:pc226="http://schemas.microsoft.com/office/powerpoint/2022/06/main/command" chg="add">
              <pc226:chgData name="Eileen Fleming Suse" userId="S::efs3844@ads.northwestern.edu::725c94ef-d051-42d7-9d33-8572765d592b" providerId="AD" clId="Web-{525C70A3-2AD6-57EA-9F7E-A6FC0841DEBD}" dt="2023-10-23T18:53:43.980" v="2"/>
              <pc2:cmMkLst xmlns:pc2="http://schemas.microsoft.com/office/powerpoint/2019/9/main/command">
                <pc:docMk/>
                <pc:sldMk cId="2351229145" sldId="544"/>
                <pc2:cmMk id="{94040B62-D001-43B9-8FD0-0A8B0C9B684C}"/>
              </pc2:cmMkLst>
            </pc226:cmChg>
          </p:ext>
        </pc:extLst>
      </pc:sldChg>
      <pc:sldChg chg="add ord">
        <pc:chgData name="Eileen Fleming Suse" userId="S::efs3844@ads.northwestern.edu::725c94ef-d051-42d7-9d33-8572765d592b" providerId="AD" clId="Web-{525C70A3-2AD6-57EA-9F7E-A6FC0841DEBD}" dt="2023-10-23T22:34:05.799" v="12"/>
        <pc:sldMkLst>
          <pc:docMk/>
          <pc:sldMk cId="714682852" sldId="552"/>
        </pc:sldMkLst>
      </pc:sldChg>
      <pc:sldChg chg="add">
        <pc:chgData name="Eileen Fleming Suse" userId="S::efs3844@ads.northwestern.edu::725c94ef-d051-42d7-9d33-8572765d592b" providerId="AD" clId="Web-{525C70A3-2AD6-57EA-9F7E-A6FC0841DEBD}" dt="2023-10-23T22:32:28.515" v="4"/>
        <pc:sldMkLst>
          <pc:docMk/>
          <pc:sldMk cId="3536510335" sldId="553"/>
        </pc:sldMkLst>
      </pc:sldChg>
      <pc:sldChg chg="add">
        <pc:chgData name="Eileen Fleming Suse" userId="S::efs3844@ads.northwestern.edu::725c94ef-d051-42d7-9d33-8572765d592b" providerId="AD" clId="Web-{525C70A3-2AD6-57EA-9F7E-A6FC0841DEBD}" dt="2023-10-23T22:32:29.500" v="5"/>
        <pc:sldMkLst>
          <pc:docMk/>
          <pc:sldMk cId="1231844700" sldId="554"/>
        </pc:sldMkLst>
      </pc:sldChg>
      <pc:sldChg chg="add">
        <pc:chgData name="Eileen Fleming Suse" userId="S::efs3844@ads.northwestern.edu::725c94ef-d051-42d7-9d33-8572765d592b" providerId="AD" clId="Web-{525C70A3-2AD6-57EA-9F7E-A6FC0841DEBD}" dt="2023-10-23T22:32:30.546" v="6"/>
        <pc:sldMkLst>
          <pc:docMk/>
          <pc:sldMk cId="1522616096" sldId="555"/>
        </pc:sldMkLst>
      </pc:sldChg>
      <pc:sldChg chg="modSp add">
        <pc:chgData name="Eileen Fleming Suse" userId="S::efs3844@ads.northwestern.edu::725c94ef-d051-42d7-9d33-8572765d592b" providerId="AD" clId="Web-{525C70A3-2AD6-57EA-9F7E-A6FC0841DEBD}" dt="2023-10-23T22:32:56.500" v="9" actId="20577"/>
        <pc:sldMkLst>
          <pc:docMk/>
          <pc:sldMk cId="1514756035" sldId="556"/>
        </pc:sldMkLst>
        <pc:spChg chg="mod">
          <ac:chgData name="Eileen Fleming Suse" userId="S::efs3844@ads.northwestern.edu::725c94ef-d051-42d7-9d33-8572765d592b" providerId="AD" clId="Web-{525C70A3-2AD6-57EA-9F7E-A6FC0841DEBD}" dt="2023-10-23T22:32:56.500" v="9" actId="20577"/>
          <ac:spMkLst>
            <pc:docMk/>
            <pc:sldMk cId="1514756035" sldId="556"/>
            <ac:spMk id="48" creationId="{9DA002CE-213B-0EFE-03DC-C3DB65BCF003}"/>
          </ac:spMkLst>
        </pc:spChg>
      </pc:sldChg>
      <pc:sldChg chg="delSp add">
        <pc:chgData name="Eileen Fleming Suse" userId="S::efs3844@ads.northwestern.edu::725c94ef-d051-42d7-9d33-8572765d592b" providerId="AD" clId="Web-{525C70A3-2AD6-57EA-9F7E-A6FC0841DEBD}" dt="2023-10-23T22:33:47.314" v="11"/>
        <pc:sldMkLst>
          <pc:docMk/>
          <pc:sldMk cId="2997078466" sldId="557"/>
        </pc:sldMkLst>
        <pc:spChg chg="del">
          <ac:chgData name="Eileen Fleming Suse" userId="S::efs3844@ads.northwestern.edu::725c94ef-d051-42d7-9d33-8572765d592b" providerId="AD" clId="Web-{525C70A3-2AD6-57EA-9F7E-A6FC0841DEBD}" dt="2023-10-23T22:33:47.314" v="11"/>
          <ac:spMkLst>
            <pc:docMk/>
            <pc:sldMk cId="2997078466" sldId="557"/>
            <ac:spMk id="3" creationId="{519453C4-D641-E6F9-196B-26AF5EFCC40A}"/>
          </ac:spMkLst>
        </pc:spChg>
      </pc:sldChg>
      <pc:sldChg chg="modSp mod modClrScheme chgLayout">
        <pc:chgData name="Eileen Fleming Suse" userId="S::efs3844@ads.northwestern.edu::725c94ef-d051-42d7-9d33-8572765d592b" providerId="AD" clId="Web-{525C70A3-2AD6-57EA-9F7E-A6FC0841DEBD}" dt="2023-10-23T22:59:09.760" v="13"/>
        <pc:sldMkLst>
          <pc:docMk/>
          <pc:sldMk cId="202185053" sldId="559"/>
        </pc:sldMkLst>
        <pc:spChg chg="mod ord">
          <ac:chgData name="Eileen Fleming Suse" userId="S::efs3844@ads.northwestern.edu::725c94ef-d051-42d7-9d33-8572765d592b" providerId="AD" clId="Web-{525C70A3-2AD6-57EA-9F7E-A6FC0841DEBD}" dt="2023-10-23T22:59:09.760" v="13"/>
          <ac:spMkLst>
            <pc:docMk/>
            <pc:sldMk cId="202185053" sldId="559"/>
            <ac:spMk id="2" creationId="{4DA6F726-268B-D1E3-168E-B1D635F770C9}"/>
          </ac:spMkLst>
        </pc:spChg>
        <pc:spChg chg="mod ord">
          <ac:chgData name="Eileen Fleming Suse" userId="S::efs3844@ads.northwestern.edu::725c94ef-d051-42d7-9d33-8572765d592b" providerId="AD" clId="Web-{525C70A3-2AD6-57EA-9F7E-A6FC0841DEBD}" dt="2023-10-23T22:59:09.760" v="13"/>
          <ac:spMkLst>
            <pc:docMk/>
            <pc:sldMk cId="202185053" sldId="559"/>
            <ac:spMk id="3" creationId="{97C35C3F-414A-0BEC-2B1F-CEADE5601055}"/>
          </ac:spMkLst>
        </pc:spChg>
      </pc:sldChg>
      <pc:sldChg chg="new">
        <pc:chgData name="Eileen Fleming Suse" userId="S::efs3844@ads.northwestern.edu::725c94ef-d051-42d7-9d33-8572765d592b" providerId="AD" clId="Web-{525C70A3-2AD6-57EA-9F7E-A6FC0841DEBD}" dt="2023-10-23T22:59:48.498" v="14"/>
        <pc:sldMkLst>
          <pc:docMk/>
          <pc:sldMk cId="3067427377" sldId="560"/>
        </pc:sldMkLst>
      </pc:sldChg>
      <pc:sldChg chg="modSp new">
        <pc:chgData name="Eileen Fleming Suse" userId="S::efs3844@ads.northwestern.edu::725c94ef-d051-42d7-9d33-8572765d592b" providerId="AD" clId="Web-{525C70A3-2AD6-57EA-9F7E-A6FC0841DEBD}" dt="2023-10-23T23:00:13.859" v="18" actId="20577"/>
        <pc:sldMkLst>
          <pc:docMk/>
          <pc:sldMk cId="613071383" sldId="561"/>
        </pc:sldMkLst>
        <pc:spChg chg="mod">
          <ac:chgData name="Eileen Fleming Suse" userId="S::efs3844@ads.northwestern.edu::725c94ef-d051-42d7-9d33-8572765d592b" providerId="AD" clId="Web-{525C70A3-2AD6-57EA-9F7E-A6FC0841DEBD}" dt="2023-10-23T23:00:13.859" v="18" actId="20577"/>
          <ac:spMkLst>
            <pc:docMk/>
            <pc:sldMk cId="613071383" sldId="561"/>
            <ac:spMk id="2" creationId="{3E76F914-FD90-77EF-B54F-DA5B2A3B6B40}"/>
          </ac:spMkLst>
        </pc:spChg>
      </pc:sldChg>
      <pc:sldChg chg="modSp new mod modClrScheme chgLayout">
        <pc:chgData name="Eileen Fleming Suse" userId="S::efs3844@ads.northwestern.edu::725c94ef-d051-42d7-9d33-8572765d592b" providerId="AD" clId="Web-{525C70A3-2AD6-57EA-9F7E-A6FC0841DEBD}" dt="2023-10-23T23:00:26.391" v="20"/>
        <pc:sldMkLst>
          <pc:docMk/>
          <pc:sldMk cId="1141815353" sldId="562"/>
        </pc:sldMkLst>
        <pc:spChg chg="mod ord">
          <ac:chgData name="Eileen Fleming Suse" userId="S::efs3844@ads.northwestern.edu::725c94ef-d051-42d7-9d33-8572765d592b" providerId="AD" clId="Web-{525C70A3-2AD6-57EA-9F7E-A6FC0841DEBD}" dt="2023-10-23T23:00:26.391" v="20"/>
          <ac:spMkLst>
            <pc:docMk/>
            <pc:sldMk cId="1141815353" sldId="562"/>
            <ac:spMk id="2" creationId="{05579FEB-3306-A04E-6516-F16994F3B0F9}"/>
          </ac:spMkLst>
        </pc:spChg>
        <pc:spChg chg="mod ord">
          <ac:chgData name="Eileen Fleming Suse" userId="S::efs3844@ads.northwestern.edu::725c94ef-d051-42d7-9d33-8572765d592b" providerId="AD" clId="Web-{525C70A3-2AD6-57EA-9F7E-A6FC0841DEBD}" dt="2023-10-23T23:00:26.391" v="20"/>
          <ac:spMkLst>
            <pc:docMk/>
            <pc:sldMk cId="1141815353" sldId="562"/>
            <ac:spMk id="3" creationId="{FAB96473-F45F-5893-CEB0-FAFF66B2B444}"/>
          </ac:spMkLst>
        </pc:spChg>
      </pc:sldChg>
      <pc:sldMasterChg chg="addSldLayout">
        <pc:chgData name="Eileen Fleming Suse" userId="S::efs3844@ads.northwestern.edu::725c94ef-d051-42d7-9d33-8572765d592b" providerId="AD" clId="Web-{525C70A3-2AD6-57EA-9F7E-A6FC0841DEBD}" dt="2023-10-23T22:32:27.671" v="3"/>
        <pc:sldMasterMkLst>
          <pc:docMk/>
          <pc:sldMasterMk cId="3378073280" sldId="2147483756"/>
        </pc:sldMasterMkLst>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922533" sldId="2147483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5841725" sldId="2147483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10596175" sldId="2147483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16315189" sldId="2147483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08025" sldId="2147483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3792943" sldId="2147483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5092572" sldId="2147483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8716721" sldId="2147483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45037749" sldId="2147483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6002367" sldId="2147483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39855488" sldId="2147483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21826003" sldId="2147483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75499530" sldId="2147483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3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3561641" sldId="2147483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5267698" sldId="21474838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75297497" sldId="21474838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78663217" sldId="21474838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20774020" sldId="2147483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34594192" sldId="21474838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6315279" sldId="21474838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1317895" sldId="2147483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00288109" sldId="2147483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6376101" sldId="2147483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2886451" sldId="2147483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6159376" sldId="2147483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8616943" sldId="21474838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6938417" sldId="21474838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3550571" sldId="21474838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0877040" sldId="21474838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8574274" sldId="2147483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5471929" sldId="2147483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278594" sldId="2147483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9404483" sldId="2147483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3478424" sldId="21474838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59098044" sldId="21474838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45276364" sldId="21474838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8021461" sldId="21474838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989584" sldId="21474838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75864542" sldId="21474838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8282302" sldId="21474838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104982" sldId="21474838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5372134" sldId="21474838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7828020" sldId="21474838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27648628" sldId="21474838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6122543" sldId="21474838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2054694" sldId="21474838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9055294" sldId="21474838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6171260" sldId="21474838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0090535" sldId="21474838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7921214" sldId="21474838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920976" sldId="21474838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5804420" sldId="21474838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585276" sldId="21474839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09666298" sldId="21474839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6760714" sldId="21474839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5649411" sldId="2147483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1432267" sldId="2147483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80461207" sldId="2147483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3984959" sldId="2147483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066305" sldId="21474839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7638659" sldId="21474839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40099" sldId="2147483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8764591" sldId="2147483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19800057" sldId="21474839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11585504" sldId="2147483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22746103" sldId="21474839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5694009" sldId="21474839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54029526" sldId="21474839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9059292" sldId="21474839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4868132" sldId="21474839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0792940" sldId="21474839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783795" sldId="21474839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0660955" sldId="21474839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64467406" sldId="21474839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677796" sldId="21474839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1248361" sldId="2147483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1683148" sldId="2147483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76612349" sldId="2147483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1684694" sldId="2147483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2325930" sldId="2147483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981547" sldId="21474839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2479938" sldId="21474839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6296709" sldId="21474839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70922304" sldId="21474839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55432313" sldId="21474839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9056666" sldId="21474839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967696" sldId="21474839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446465" sldId="21474839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0798543" sldId="2147483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8675539" sldId="21474839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23011711" sldId="21474839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36372206" sldId="21474839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92031328" sldId="21474839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0270537" sldId="21474839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4610509" sldId="21474839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50515904" sldId="21474839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53644344" sldId="21474839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30798206" sldId="21474839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2990995" sldId="21474839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53374" sldId="21474839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4834593" sldId="21474839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43003970" sldId="21474839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7355230" sldId="21474839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1400287" sldId="21474839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946972" sldId="21474839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1562560" sldId="21474839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26479413" sldId="21474839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89622913" sldId="21474839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7336188" sldId="21474839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520332" sldId="21474839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28489293" sldId="2147483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040569" sldId="21474839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21105823" sldId="2147483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5772397" sldId="2147483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1901327" sldId="2147483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1352467" sldId="2147483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2305507" sldId="2147483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45177511" sldId="21474839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6909929" sldId="21474839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8498237" sldId="21474839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36365882" sldId="21474839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08656322" sldId="21474839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0473943" sldId="2147483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5550117" sldId="2147484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5824695" sldId="2147484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42248109" sldId="2147484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28249061" sldId="21474840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5655145" sldId="21474840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2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4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2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2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2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3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3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3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3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3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3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3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3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3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37652033" sldId="2147484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43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3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4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43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4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4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3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3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3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3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4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3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3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4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3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4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4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4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44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44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44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4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4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4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5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5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5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5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5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45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5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5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45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46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46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46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46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46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46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228292" sldId="21474846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8240366" sldId="21474846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46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46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6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6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7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7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7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47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47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47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47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48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48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48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48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48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48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48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48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48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48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48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4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4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4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4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2224325" sldId="2147484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10812348" sldId="2147484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4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4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49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50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50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50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5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5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5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904224" sldId="2147485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8347992" sldId="2147485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018680" sldId="2147485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5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5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2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3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3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53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3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53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3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3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3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3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4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4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54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54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2254879" sldId="2147485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32483557" sldId="21474854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54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54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54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55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1076637" sldId="21474858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0902241" sldId="21474858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58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58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38803846" sldId="21474858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898753" sldId="21474858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58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14599787" sldId="21474858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91682188" sldId="21474858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148766" sldId="21474858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77496322" sldId="214748585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47879164" sldId="21474858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9302691" sldId="21474858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35420318" sldId="21474858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5852557" sldId="21474858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58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58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58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58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58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58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58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58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03439267" sldId="21474858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8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46532180" sldId="21474859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36500789" sldId="21474859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59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59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2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2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2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2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88949313" sldId="2147486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63225" sldId="2147486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8034496" sldId="2147486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2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13001559" sldId="21474863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0117215" sldId="21474863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63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63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63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63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63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63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63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3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3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3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0496501" sldId="21474863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10130633" sldId="21474863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4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4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4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4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8157548" sldId="21474864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4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64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4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2630080" sldId="21474864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3420" sldId="21474864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4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4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69300124" sldId="21474864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87509848" sldId="21474869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9320368" sldId="21474869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2401269" sldId="21474869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0801759" sldId="21474869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59781530" sldId="21474869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95676063" sldId="21474869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9868767" sldId="21474869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337409" sldId="21474869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75216660" sldId="214748695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6272431" sldId="21474869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80140117" sldId="21474869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79200564" sldId="21474869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1596344" sldId="21474869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644005" sldId="21474869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3753234" sldId="21474869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0479694" sldId="21474869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29727" sldId="21474869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91410609" sldId="21474870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25634235" sldId="21474870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88436358" sldId="21474870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7289008" sldId="21474870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22153863" sldId="21474870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35956606" sldId="21474870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19806002" sldId="21474870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65887101" sldId="21474870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91578072" sldId="21474870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179854312" sldId="21474870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32318659" sldId="21474870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8904194" sldId="21474870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3035621" sldId="21474870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34488667" sldId="21474870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4238912" sldId="21474870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12020187" sldId="21474870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81955522" sldId="21474870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32453738" sldId="21474870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74233" sldId="21474870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71771967" sldId="21474870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14228870" sldId="21474870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48015493" sldId="21474870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1810783" sldId="21474870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296633" sldId="214748704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63854968" sldId="21474870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78744679" sldId="21474870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86376476" sldId="21474870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3775063" sldId="214748704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34956318" sldId="21474870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88786427" sldId="21474870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18415549" sldId="21474870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521326" sldId="21474870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171903" sldId="21474870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74324019" sldId="21474870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538390" sldId="214748705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51446120" sldId="214748705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32493380" sldId="214748706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45280055" sldId="214748706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48434812" sldId="214748706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05592603" sldId="214748706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2427770" sldId="214748706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94052774" sldId="21474870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47862978" sldId="21474870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76877181" sldId="214748706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50889900" sldId="21474870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56107529" sldId="21474870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04698859" sldId="21474870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61201835" sldId="21474870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538182" sldId="21474870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45375" sldId="21474870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32901630" sldId="21474870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11840102" sldId="21474870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89779657" sldId="21474870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91043975" sldId="21474870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7739039" sldId="21474870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34936126" sldId="21474870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73437552" sldId="21474870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58328559" sldId="214748708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29386569" sldId="21474870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65731875" sldId="21474870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43182943" sldId="21474870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39854147" sldId="21474870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9986855" sldId="214748708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878186423" sldId="214748708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4781546" sldId="21474870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2901995" sldId="21474870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08658575" sldId="21474870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9532752" sldId="21474870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47643842" sldId="21474870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3045463" sldId="21474870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02931972" sldId="21474870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024431" sldId="21474870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5505364" sldId="21474870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60285631" sldId="21474870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8619597" sldId="21474870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0582738" sldId="21474871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4587918" sldId="21474871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09084614" sldId="214748710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14221174" sldId="21474871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3290789" sldId="21474871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26322304" sldId="21474871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03393694" sldId="21474871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92589500" sldId="21474871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53485271" sldId="21474871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95870651" sldId="21474871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28825244" sldId="21474871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9238068" sldId="21474871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49862182" sldId="21474871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63852016" sldId="21474871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13736809" sldId="21474871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84184684" sldId="21474871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99434678" sldId="21474871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68056590" sldId="21474871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19438968" sldId="21474871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23871782" sldId="21474871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5694493" sldId="21474871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3350505" sldId="21474871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99849130" sldId="21474871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11595628" sldId="21474871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09251650" sldId="21474871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2428475" sldId="21474871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9805404" sldId="21474871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702167" sldId="21474871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57713067" sldId="21474871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73097338" sldId="214748713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216179664" sldId="21474871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493336" sldId="21474871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74977627" sldId="21474871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34355322" sldId="21474871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9001456" sldId="21474871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61880748" sldId="21474871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9786099" sldId="21474871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9168792" sldId="214748713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8112831" sldId="214748713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23635138" sldId="214748714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72360139" sldId="214748714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39256970" sldId="21474871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04300062" sldId="214748715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98059872" sldId="214748715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81420108" sldId="214748716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210091495" sldId="214748716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41914057" sldId="214748717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84230286" sldId="214748717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982798914" sldId="214748718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1199215" sldId="214748718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29515799" sldId="214748718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48436128" sldId="214748718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83270214" sldId="214748718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964228" sldId="214748718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03719949" sldId="214748718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590515151" sldId="21474871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78274380" sldId="21474871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08841809" sldId="214748719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03686679" sldId="21474872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04450066" sldId="21474872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065481949" sldId="21474872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14801019" sldId="21474872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07914573" sldId="214748720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02775852" sldId="21474872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7288010" sldId="21474872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25519462" sldId="214748721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98032396" sldId="214748721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04125666" sldId="214748721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25845292" sldId="214748721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388239" sldId="214748721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8412230" sldId="214748721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07651266" sldId="21474872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18896833" sldId="21474872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82089770" sldId="21474872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657758517" sldId="214748722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23406442" sldId="214748722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7243743" sldId="214748722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65875377" sldId="214748722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94216092" sldId="214748722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91876091" sldId="21474872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81815734" sldId="214748722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5213743" sldId="214748722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1114809" sldId="214748722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68810016" sldId="214748723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147740735" sldId="214748723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95849402" sldId="214748723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62217939" sldId="214748723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9127" sldId="214748723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732741348" sldId="214748723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42047047" sldId="214748723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298479306" sldId="214748724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85636675" sldId="214748724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4065546" sldId="214748724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75016611" sldId="21474872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61954738" sldId="21474872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72710091" sldId="214748724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62430371" sldId="214748725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88036761" sldId="214748725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82342115" sldId="214748725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914054778" sldId="214748725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36486368" sldId="214748726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70705443" sldId="214748726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8020355" sldId="214748727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062208845" sldId="214748727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29070028" sldId="214748727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89649185" sldId="214748727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848626561" sldId="214748727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76538025" sldId="214748727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24847678" sldId="214748727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83649414" sldId="214748727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97111013" sldId="214748729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00008366" sldId="214748729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318321361" sldId="2147487292"/>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559555195" sldId="214748729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41522953" sldId="214748729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08668804" sldId="214748729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801862111" sldId="214748729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957949696" sldId="214748729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6907520" sldId="214748729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362774728" sldId="214748730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627363329" sldId="214748730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459463894" sldId="2147487303"/>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752727692" sldId="2147487304"/>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386647170" sldId="2147487305"/>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26791542" sldId="214748730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169632276" sldId="2147487307"/>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543247745" sldId="214748730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663663494" sldId="214748731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797839732" sldId="2147487311"/>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829198981" sldId="214748731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4290579671" sldId="2147487319"/>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1491955889" sldId="2147487320"/>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069414299" sldId="214748732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756972729" sldId="2147487346"/>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2541926387" sldId="2147487348"/>
          </pc:sldLayoutMkLst>
        </pc:sldLayoutChg>
        <pc:sldLayoutChg chg="add">
          <pc:chgData name="Eileen Fleming Suse" userId="S::efs3844@ads.northwestern.edu::725c94ef-d051-42d7-9d33-8572765d592b" providerId="AD" clId="Web-{525C70A3-2AD6-57EA-9F7E-A6FC0841DEBD}" dt="2023-10-23T22:32:27.671" v="3"/>
          <pc:sldLayoutMkLst>
            <pc:docMk/>
            <pc:sldMasterMk cId="3378073280" sldId="2147483756"/>
            <pc:sldLayoutMk cId="3486669273" sldId="2147487349"/>
          </pc:sldLayoutMkLst>
        </pc:sldLayoutChg>
      </pc:sldMasterChg>
    </pc:docChg>
  </pc:docChgLst>
  <pc:docChgLst>
    <pc:chgData name="justin" userId="S::justin_josephsen.org#ext#@nuwildcat.onmicrosoft.com::59076b92-ce89-4586-91d8-5ddb5cd2b89a" providerId="AD" clId="Web-{6299E2EC-AA5F-793A-628C-EBCF8BF5D2B0}"/>
    <pc:docChg chg="modSld">
      <pc:chgData name="justin" userId="S::justin_josephsen.org#ext#@nuwildcat.onmicrosoft.com::59076b92-ce89-4586-91d8-5ddb5cd2b89a" providerId="AD" clId="Web-{6299E2EC-AA5F-793A-628C-EBCF8BF5D2B0}" dt="2023-11-20T14:40:33.879" v="1" actId="20577"/>
      <pc:docMkLst>
        <pc:docMk/>
      </pc:docMkLst>
      <pc:sldChg chg="modSp">
        <pc:chgData name="justin" userId="S::justin_josephsen.org#ext#@nuwildcat.onmicrosoft.com::59076b92-ce89-4586-91d8-5ddb5cd2b89a" providerId="AD" clId="Web-{6299E2EC-AA5F-793A-628C-EBCF8BF5D2B0}" dt="2023-11-20T14:40:33.879" v="1" actId="20577"/>
        <pc:sldMkLst>
          <pc:docMk/>
          <pc:sldMk cId="102026260" sldId="720"/>
        </pc:sldMkLst>
        <pc:spChg chg="mod">
          <ac:chgData name="justin" userId="S::justin_josephsen.org#ext#@nuwildcat.onmicrosoft.com::59076b92-ce89-4586-91d8-5ddb5cd2b89a" providerId="AD" clId="Web-{6299E2EC-AA5F-793A-628C-EBCF8BF5D2B0}" dt="2023-11-20T14:40:33.879" v="1" actId="20577"/>
          <ac:spMkLst>
            <pc:docMk/>
            <pc:sldMk cId="102026260" sldId="720"/>
            <ac:spMk id="9" creationId="{98150912-7A4D-8CF4-F429-183917B0EF9E}"/>
          </ac:spMkLst>
        </pc:spChg>
      </pc:sldChg>
    </pc:docChg>
  </pc:docChgLst>
  <pc:docChgLst>
    <pc:chgData name="Eileen Fleming Suse" userId="S::efs3844@ads.northwestern.edu::725c94ef-d051-42d7-9d33-8572765d592b" providerId="AD" clId="Web-{9EA480BD-2ABC-0E67-CCB3-672E9005EA21}"/>
    <pc:docChg chg="modSld">
      <pc:chgData name="Eileen Fleming Suse" userId="S::efs3844@ads.northwestern.edu::725c94ef-d051-42d7-9d33-8572765d592b" providerId="AD" clId="Web-{9EA480BD-2ABC-0E67-CCB3-672E9005EA21}" dt="2023-10-31T18:53:54.682" v="108" actId="20577"/>
      <pc:docMkLst>
        <pc:docMk/>
      </pc:docMkLst>
      <pc:sldChg chg="modNotes">
        <pc:chgData name="Eileen Fleming Suse" userId="S::efs3844@ads.northwestern.edu::725c94ef-d051-42d7-9d33-8572765d592b" providerId="AD" clId="Web-{9EA480BD-2ABC-0E67-CCB3-672E9005EA21}" dt="2023-10-31T18:38:51.875" v="17"/>
        <pc:sldMkLst>
          <pc:docMk/>
          <pc:sldMk cId="3536510335" sldId="553"/>
        </pc:sldMkLst>
      </pc:sldChg>
      <pc:sldChg chg="modNotes">
        <pc:chgData name="Eileen Fleming Suse" userId="S::efs3844@ads.northwestern.edu::725c94ef-d051-42d7-9d33-8572765d592b" providerId="AD" clId="Web-{9EA480BD-2ABC-0E67-CCB3-672E9005EA21}" dt="2023-10-31T18:42:48.819" v="18"/>
        <pc:sldMkLst>
          <pc:docMk/>
          <pc:sldMk cId="1514756035" sldId="556"/>
        </pc:sldMkLst>
      </pc:sldChg>
      <pc:sldChg chg="modSp">
        <pc:chgData name="Eileen Fleming Suse" userId="S::efs3844@ads.northwestern.edu::725c94ef-d051-42d7-9d33-8572765d592b" providerId="AD" clId="Web-{9EA480BD-2ABC-0E67-CCB3-672E9005EA21}" dt="2023-10-31T18:47:22.061" v="50" actId="20577"/>
        <pc:sldMkLst>
          <pc:docMk/>
          <pc:sldMk cId="3067427377" sldId="560"/>
        </pc:sldMkLst>
        <pc:spChg chg="mod">
          <ac:chgData name="Eileen Fleming Suse" userId="S::efs3844@ads.northwestern.edu::725c94ef-d051-42d7-9d33-8572765d592b" providerId="AD" clId="Web-{9EA480BD-2ABC-0E67-CCB3-672E9005EA21}" dt="2023-10-31T18:47:22.061" v="50" actId="20577"/>
          <ac:spMkLst>
            <pc:docMk/>
            <pc:sldMk cId="3067427377" sldId="560"/>
            <ac:spMk id="3" creationId="{E7ECD19B-85BC-6652-2856-676802964CFA}"/>
          </ac:spMkLst>
        </pc:spChg>
      </pc:sldChg>
      <pc:sldChg chg="modSp">
        <pc:chgData name="Eileen Fleming Suse" userId="S::efs3844@ads.northwestern.edu::725c94ef-d051-42d7-9d33-8572765d592b" providerId="AD" clId="Web-{9EA480BD-2ABC-0E67-CCB3-672E9005EA21}" dt="2023-10-31T18:46:04.106" v="29" actId="1076"/>
        <pc:sldMkLst>
          <pc:docMk/>
          <pc:sldMk cId="3809547791" sldId="586"/>
        </pc:sldMkLst>
        <pc:spChg chg="mod">
          <ac:chgData name="Eileen Fleming Suse" userId="S::efs3844@ads.northwestern.edu::725c94ef-d051-42d7-9d33-8572765d592b" providerId="AD" clId="Web-{9EA480BD-2ABC-0E67-CCB3-672E9005EA21}" dt="2023-10-31T18:46:04.106" v="29" actId="1076"/>
          <ac:spMkLst>
            <pc:docMk/>
            <pc:sldMk cId="3809547791" sldId="586"/>
            <ac:spMk id="38" creationId="{00000000-0000-0000-0000-000000000000}"/>
          </ac:spMkLst>
        </pc:spChg>
        <pc:spChg chg="mod">
          <ac:chgData name="Eileen Fleming Suse" userId="S::efs3844@ads.northwestern.edu::725c94ef-d051-42d7-9d33-8572765d592b" providerId="AD" clId="Web-{9EA480BD-2ABC-0E67-CCB3-672E9005EA21}" dt="2023-10-31T18:45:13.026" v="22" actId="14100"/>
          <ac:spMkLst>
            <pc:docMk/>
            <pc:sldMk cId="3809547791" sldId="586"/>
            <ac:spMk id="39" creationId="{00000000-0000-0000-0000-000000000000}"/>
          </ac:spMkLst>
        </pc:spChg>
        <pc:spChg chg="mod">
          <ac:chgData name="Eileen Fleming Suse" userId="S::efs3844@ads.northwestern.edu::725c94ef-d051-42d7-9d33-8572765d592b" providerId="AD" clId="Web-{9EA480BD-2ABC-0E67-CCB3-672E9005EA21}" dt="2023-10-31T18:45:53.184" v="27" actId="1076"/>
          <ac:spMkLst>
            <pc:docMk/>
            <pc:sldMk cId="3809547791" sldId="586"/>
            <ac:spMk id="40" creationId="{00000000-0000-0000-0000-000000000000}"/>
          </ac:spMkLst>
        </pc:spChg>
        <pc:spChg chg="mod">
          <ac:chgData name="Eileen Fleming Suse" userId="S::efs3844@ads.northwestern.edu::725c94ef-d051-42d7-9d33-8572765d592b" providerId="AD" clId="Web-{9EA480BD-2ABC-0E67-CCB3-672E9005EA21}" dt="2023-10-31T18:45:33.839" v="25" actId="14100"/>
          <ac:spMkLst>
            <pc:docMk/>
            <pc:sldMk cId="3809547791" sldId="586"/>
            <ac:spMk id="43" creationId="{00000000-0000-0000-0000-000000000000}"/>
          </ac:spMkLst>
        </pc:spChg>
        <pc:grpChg chg="mod">
          <ac:chgData name="Eileen Fleming Suse" userId="S::efs3844@ads.northwestern.edu::725c94ef-d051-42d7-9d33-8572765d592b" providerId="AD" clId="Web-{9EA480BD-2ABC-0E67-CCB3-672E9005EA21}" dt="2023-10-31T18:45:29.558" v="24" actId="14100"/>
          <ac:grpSpMkLst>
            <pc:docMk/>
            <pc:sldMk cId="3809547791" sldId="586"/>
            <ac:grpSpMk id="14" creationId="{00000000-0000-0000-0000-000000000000}"/>
          </ac:grpSpMkLst>
        </pc:grpChg>
        <pc:grpChg chg="mod">
          <ac:chgData name="Eileen Fleming Suse" userId="S::efs3844@ads.northwestern.edu::725c94ef-d051-42d7-9d33-8572765d592b" providerId="AD" clId="Web-{9EA480BD-2ABC-0E67-CCB3-672E9005EA21}" dt="2023-10-31T18:45:57.090" v="28" actId="14100"/>
          <ac:grpSpMkLst>
            <pc:docMk/>
            <pc:sldMk cId="3809547791" sldId="586"/>
            <ac:grpSpMk id="17" creationId="{00000000-0000-0000-0000-000000000000}"/>
          </ac:grpSpMkLst>
        </pc:grpChg>
        <pc:grpChg chg="mod">
          <ac:chgData name="Eileen Fleming Suse" userId="S::efs3844@ads.northwestern.edu::725c94ef-d051-42d7-9d33-8572765d592b" providerId="AD" clId="Web-{9EA480BD-2ABC-0E67-CCB3-672E9005EA21}" dt="2023-10-31T18:45:49.215" v="26" actId="1076"/>
          <ac:grpSpMkLst>
            <pc:docMk/>
            <pc:sldMk cId="3809547791" sldId="586"/>
            <ac:grpSpMk id="23" creationId="{00000000-0000-0000-0000-000000000000}"/>
          </ac:grpSpMkLst>
        </pc:grpChg>
      </pc:sldChg>
      <pc:sldChg chg="modSp">
        <pc:chgData name="Eileen Fleming Suse" userId="S::efs3844@ads.northwestern.edu::725c94ef-d051-42d7-9d33-8572765d592b" providerId="AD" clId="Web-{9EA480BD-2ABC-0E67-CCB3-672E9005EA21}" dt="2023-10-31T18:47:45.734" v="54" actId="1076"/>
        <pc:sldMkLst>
          <pc:docMk/>
          <pc:sldMk cId="2443892533" sldId="643"/>
        </pc:sldMkLst>
        <pc:spChg chg="mod">
          <ac:chgData name="Eileen Fleming Suse" userId="S::efs3844@ads.northwestern.edu::725c94ef-d051-42d7-9d33-8572765d592b" providerId="AD" clId="Web-{9EA480BD-2ABC-0E67-CCB3-672E9005EA21}" dt="2023-10-31T18:47:45.734" v="54" actId="1076"/>
          <ac:spMkLst>
            <pc:docMk/>
            <pc:sldMk cId="2443892533" sldId="643"/>
            <ac:spMk id="10" creationId="{F7DE78CF-32A6-61A0-EEC5-F837E089D3A4}"/>
          </ac:spMkLst>
        </pc:spChg>
      </pc:sldChg>
      <pc:sldChg chg="addSp modSp mod setBg">
        <pc:chgData name="Eileen Fleming Suse" userId="S::efs3844@ads.northwestern.edu::725c94ef-d051-42d7-9d33-8572765d592b" providerId="AD" clId="Web-{9EA480BD-2ABC-0E67-CCB3-672E9005EA21}" dt="2023-10-31T18:53:54.682" v="108" actId="20577"/>
        <pc:sldMkLst>
          <pc:docMk/>
          <pc:sldMk cId="1112761221" sldId="649"/>
        </pc:sldMkLst>
        <pc:spChg chg="mod">
          <ac:chgData name="Eileen Fleming Suse" userId="S::efs3844@ads.northwestern.edu::725c94ef-d051-42d7-9d33-8572765d592b" providerId="AD" clId="Web-{9EA480BD-2ABC-0E67-CCB3-672E9005EA21}" dt="2023-10-31T18:53:23.509" v="106"/>
          <ac:spMkLst>
            <pc:docMk/>
            <pc:sldMk cId="1112761221" sldId="649"/>
            <ac:spMk id="2" creationId="{5D725862-D9BC-0176-0EC2-CCE1E0651CF6}"/>
          </ac:spMkLst>
        </pc:spChg>
        <pc:spChg chg="mod">
          <ac:chgData name="Eileen Fleming Suse" userId="S::efs3844@ads.northwestern.edu::725c94ef-d051-42d7-9d33-8572765d592b" providerId="AD" clId="Web-{9EA480BD-2ABC-0E67-CCB3-672E9005EA21}" dt="2023-10-31T18:53:54.682" v="108" actId="20577"/>
          <ac:spMkLst>
            <pc:docMk/>
            <pc:sldMk cId="1112761221" sldId="649"/>
            <ac:spMk id="3" creationId="{6C9274D1-5B42-C3F3-28E1-C27E5991B53C}"/>
          </ac:spMkLst>
        </pc:spChg>
        <pc:spChg chg="mod ord">
          <ac:chgData name="Eileen Fleming Suse" userId="S::efs3844@ads.northwestern.edu::725c94ef-d051-42d7-9d33-8572765d592b" providerId="AD" clId="Web-{9EA480BD-2ABC-0E67-CCB3-672E9005EA21}" dt="2023-10-31T18:53:23.509" v="106"/>
          <ac:spMkLst>
            <pc:docMk/>
            <pc:sldMk cId="1112761221" sldId="649"/>
            <ac:spMk id="4" creationId="{63A013EC-D0C0-C69D-4DDA-EBB300A2CBEF}"/>
          </ac:spMkLst>
        </pc:spChg>
        <pc:spChg chg="mod">
          <ac:chgData name="Eileen Fleming Suse" userId="S::efs3844@ads.northwestern.edu::725c94ef-d051-42d7-9d33-8572765d592b" providerId="AD" clId="Web-{9EA480BD-2ABC-0E67-CCB3-672E9005EA21}" dt="2023-10-31T18:53:23.509" v="106"/>
          <ac:spMkLst>
            <pc:docMk/>
            <pc:sldMk cId="1112761221" sldId="649"/>
            <ac:spMk id="5" creationId="{2E91D297-9D05-16EF-3891-0E6C69C99EBA}"/>
          </ac:spMkLst>
        </pc:spChg>
        <pc:spChg chg="add">
          <ac:chgData name="Eileen Fleming Suse" userId="S::efs3844@ads.northwestern.edu::725c94ef-d051-42d7-9d33-8572765d592b" providerId="AD" clId="Web-{9EA480BD-2ABC-0E67-CCB3-672E9005EA21}" dt="2023-10-31T18:53:23.509" v="106"/>
          <ac:spMkLst>
            <pc:docMk/>
            <pc:sldMk cId="1112761221" sldId="649"/>
            <ac:spMk id="10" creationId="{FFD48BC7-DC40-47DE-87EE-9F4B6ECB9ABB}"/>
          </ac:spMkLst>
        </pc:spChg>
        <pc:spChg chg="add">
          <ac:chgData name="Eileen Fleming Suse" userId="S::efs3844@ads.northwestern.edu::725c94ef-d051-42d7-9d33-8572765d592b" providerId="AD" clId="Web-{9EA480BD-2ABC-0E67-CCB3-672E9005EA21}" dt="2023-10-31T18:53:23.509" v="106"/>
          <ac:spMkLst>
            <pc:docMk/>
            <pc:sldMk cId="1112761221" sldId="649"/>
            <ac:spMk id="12" creationId="{E502BBC7-2C76-46F3-BC24-5985BC13DB88}"/>
          </ac:spMkLst>
        </pc:spChg>
        <pc:spChg chg="add">
          <ac:chgData name="Eileen Fleming Suse" userId="S::efs3844@ads.northwestern.edu::725c94ef-d051-42d7-9d33-8572765d592b" providerId="AD" clId="Web-{9EA480BD-2ABC-0E67-CCB3-672E9005EA21}" dt="2023-10-31T18:53:23.509" v="106"/>
          <ac:spMkLst>
            <pc:docMk/>
            <pc:sldMk cId="1112761221" sldId="649"/>
            <ac:spMk id="14" creationId="{C7F28D52-2A5F-4D23-81AE-7CB8B591C7AF}"/>
          </ac:spMkLst>
        </pc:spChg>
        <pc:spChg chg="add">
          <ac:chgData name="Eileen Fleming Suse" userId="S::efs3844@ads.northwestern.edu::725c94ef-d051-42d7-9d33-8572765d592b" providerId="AD" clId="Web-{9EA480BD-2ABC-0E67-CCB3-672E9005EA21}" dt="2023-10-31T18:53:23.509" v="106"/>
          <ac:spMkLst>
            <pc:docMk/>
            <pc:sldMk cId="1112761221" sldId="649"/>
            <ac:spMk id="16" creationId="{3629484E-3792-4B3D-89AD-7C8A1ED0E0D4}"/>
          </ac:spMkLst>
        </pc:spChg>
      </pc:sldChg>
    </pc:docChg>
  </pc:docChgLst>
  <pc:docChgLst>
    <pc:chgData name="Eileen Fleming Suse" userId="S::efs3844@ads.northwestern.edu::725c94ef-d051-42d7-9d33-8572765d592b" providerId="AD" clId="Web-{0341ED96-5143-9562-5248-833DF36573A1}"/>
    <pc:docChg chg="delSld">
      <pc:chgData name="Eileen Fleming Suse" userId="S::efs3844@ads.northwestern.edu::725c94ef-d051-42d7-9d33-8572765d592b" providerId="AD" clId="Web-{0341ED96-5143-9562-5248-833DF36573A1}" dt="2023-10-23T23:48:58.023" v="0"/>
      <pc:docMkLst>
        <pc:docMk/>
      </pc:docMkLst>
      <pc:sldChg chg="del">
        <pc:chgData name="Eileen Fleming Suse" userId="S::efs3844@ads.northwestern.edu::725c94ef-d051-42d7-9d33-8572765d592b" providerId="AD" clId="Web-{0341ED96-5143-9562-5248-833DF36573A1}" dt="2023-10-23T23:48:58.023" v="0"/>
        <pc:sldMkLst>
          <pc:docMk/>
          <pc:sldMk cId="202185053" sldId="559"/>
        </pc:sldMkLst>
      </pc:sldChg>
    </pc:docChg>
  </pc:docChgLst>
  <pc:docChgLst>
    <pc:chgData name="Caldarelli, Leslie" userId="S::lcaldarelli_luriechildrens.org#ext#@nuwildcat.onmicrosoft.com::cd79b54d-c14e-4199-a04a-39c6f592e710" providerId="AD" clId="Web-{BC047B72-8F18-01C2-FA60-A38A99380270}"/>
    <pc:docChg chg="modSld sldOrd">
      <pc:chgData name="Caldarelli, Leslie" userId="S::lcaldarelli_luriechildrens.org#ext#@nuwildcat.onmicrosoft.com::cd79b54d-c14e-4199-a04a-39c6f592e710" providerId="AD" clId="Web-{BC047B72-8F18-01C2-FA60-A38A99380270}" dt="2023-10-31T04:33:13.252" v="935" actId="20577"/>
      <pc:docMkLst>
        <pc:docMk/>
      </pc:docMkLst>
      <pc:sldChg chg="modSp">
        <pc:chgData name="Caldarelli, Leslie" userId="S::lcaldarelli_luriechildrens.org#ext#@nuwildcat.onmicrosoft.com::cd79b54d-c14e-4199-a04a-39c6f592e710" providerId="AD" clId="Web-{BC047B72-8F18-01C2-FA60-A38A99380270}" dt="2023-10-31T02:08:33.719" v="18" actId="20577"/>
        <pc:sldMkLst>
          <pc:docMk/>
          <pc:sldMk cId="4044691067" sldId="283"/>
        </pc:sldMkLst>
        <pc:spChg chg="mod">
          <ac:chgData name="Caldarelli, Leslie" userId="S::lcaldarelli_luriechildrens.org#ext#@nuwildcat.onmicrosoft.com::cd79b54d-c14e-4199-a04a-39c6f592e710" providerId="AD" clId="Web-{BC047B72-8F18-01C2-FA60-A38A99380270}" dt="2023-10-31T02:08:26.734" v="17" actId="1076"/>
          <ac:spMkLst>
            <pc:docMk/>
            <pc:sldMk cId="4044691067" sldId="283"/>
            <ac:spMk id="3" creationId="{00000000-0000-0000-0000-000000000000}"/>
          </ac:spMkLst>
        </pc:spChg>
        <pc:spChg chg="mod">
          <ac:chgData name="Caldarelli, Leslie" userId="S::lcaldarelli_luriechildrens.org#ext#@nuwildcat.onmicrosoft.com::cd79b54d-c14e-4199-a04a-39c6f592e710" providerId="AD" clId="Web-{BC047B72-8F18-01C2-FA60-A38A99380270}" dt="2023-10-31T02:08:33.719" v="18" actId="20577"/>
          <ac:spMkLst>
            <pc:docMk/>
            <pc:sldMk cId="4044691067" sldId="283"/>
            <ac:spMk id="16386" creationId="{00000000-0000-0000-0000-000000000000}"/>
          </ac:spMkLst>
        </pc:spChg>
        <pc:spChg chg="mod">
          <ac:chgData name="Caldarelli, Leslie" userId="S::lcaldarelli_luriechildrens.org#ext#@nuwildcat.onmicrosoft.com::cd79b54d-c14e-4199-a04a-39c6f592e710" providerId="AD" clId="Web-{BC047B72-8F18-01C2-FA60-A38A99380270}" dt="2023-10-31T02:06:09.934" v="6" actId="1076"/>
          <ac:spMkLst>
            <pc:docMk/>
            <pc:sldMk cId="4044691067" sldId="283"/>
            <ac:spMk id="1638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2:10:51.238" v="39" actId="20577"/>
        <pc:sldMkLst>
          <pc:docMk/>
          <pc:sldMk cId="3635595752" sldId="545"/>
        </pc:sldMkLst>
        <pc:spChg chg="mod">
          <ac:chgData name="Caldarelli, Leslie" userId="S::lcaldarelli_luriechildrens.org#ext#@nuwildcat.onmicrosoft.com::cd79b54d-c14e-4199-a04a-39c6f592e710" providerId="AD" clId="Web-{BC047B72-8F18-01C2-FA60-A38A99380270}" dt="2023-10-31T02:10:51.238" v="39" actId="20577"/>
          <ac:spMkLst>
            <pc:docMk/>
            <pc:sldMk cId="3635595752" sldId="545"/>
            <ac:spMk id="3" creationId="{BFE56240-A306-0E11-425A-7323821A42F2}"/>
          </ac:spMkLst>
        </pc:spChg>
      </pc:sldChg>
      <pc:sldChg chg="modSp">
        <pc:chgData name="Caldarelli, Leslie" userId="S::lcaldarelli_luriechildrens.org#ext#@nuwildcat.onmicrosoft.com::cd79b54d-c14e-4199-a04a-39c6f592e710" providerId="AD" clId="Web-{BC047B72-8F18-01C2-FA60-A38A99380270}" dt="2023-10-31T03:23:30.003" v="188" actId="20577"/>
        <pc:sldMkLst>
          <pc:docMk/>
          <pc:sldMk cId="1036043289" sldId="546"/>
        </pc:sldMkLst>
        <pc:spChg chg="mod">
          <ac:chgData name="Caldarelli, Leslie" userId="S::lcaldarelli_luriechildrens.org#ext#@nuwildcat.onmicrosoft.com::cd79b54d-c14e-4199-a04a-39c6f592e710" providerId="AD" clId="Web-{BC047B72-8F18-01C2-FA60-A38A99380270}" dt="2023-10-31T03:23:30.003" v="188" actId="20577"/>
          <ac:spMkLst>
            <pc:docMk/>
            <pc:sldMk cId="1036043289" sldId="546"/>
            <ac:spMk id="3" creationId="{BACE41BD-1CAE-1299-918F-5B1678DE12B4}"/>
          </ac:spMkLst>
        </pc:spChg>
      </pc:sldChg>
      <pc:sldChg chg="modSp modNotes">
        <pc:chgData name="Caldarelli, Leslie" userId="S::lcaldarelli_luriechildrens.org#ext#@nuwildcat.onmicrosoft.com::cd79b54d-c14e-4199-a04a-39c6f592e710" providerId="AD" clId="Web-{BC047B72-8F18-01C2-FA60-A38A99380270}" dt="2023-10-31T04:32:19.657" v="874"/>
        <pc:sldMkLst>
          <pc:docMk/>
          <pc:sldMk cId="3745706804" sldId="548"/>
        </pc:sldMkLst>
        <pc:spChg chg="mod">
          <ac:chgData name="Caldarelli, Leslie" userId="S::lcaldarelli_luriechildrens.org#ext#@nuwildcat.onmicrosoft.com::cd79b54d-c14e-4199-a04a-39c6f592e710" providerId="AD" clId="Web-{BC047B72-8F18-01C2-FA60-A38A99380270}" dt="2023-10-31T04:30:45.872" v="852" actId="20577"/>
          <ac:spMkLst>
            <pc:docMk/>
            <pc:sldMk cId="3745706804" sldId="548"/>
            <ac:spMk id="2" creationId="{C2B429CC-FC8C-ECA7-15C8-7563C27BFB95}"/>
          </ac:spMkLst>
        </pc:spChg>
        <pc:spChg chg="mod">
          <ac:chgData name="Caldarelli, Leslie" userId="S::lcaldarelli_luriechildrens.org#ext#@nuwildcat.onmicrosoft.com::cd79b54d-c14e-4199-a04a-39c6f592e710" providerId="AD" clId="Web-{BC047B72-8F18-01C2-FA60-A38A99380270}" dt="2023-10-31T04:30:54.388" v="855" actId="20577"/>
          <ac:spMkLst>
            <pc:docMk/>
            <pc:sldMk cId="3745706804" sldId="548"/>
            <ac:spMk id="3" creationId="{C0454086-94BF-0693-766D-F1659194519A}"/>
          </ac:spMkLst>
        </pc:spChg>
      </pc:sldChg>
      <pc:sldChg chg="modSp">
        <pc:chgData name="Caldarelli, Leslie" userId="S::lcaldarelli_luriechildrens.org#ext#@nuwildcat.onmicrosoft.com::cd79b54d-c14e-4199-a04a-39c6f592e710" providerId="AD" clId="Web-{BC047B72-8F18-01C2-FA60-A38A99380270}" dt="2023-10-31T04:33:03.893" v="911" actId="20577"/>
        <pc:sldMkLst>
          <pc:docMk/>
          <pc:sldMk cId="3962270618" sldId="549"/>
        </pc:sldMkLst>
        <pc:spChg chg="mod">
          <ac:chgData name="Caldarelli, Leslie" userId="S::lcaldarelli_luriechildrens.org#ext#@nuwildcat.onmicrosoft.com::cd79b54d-c14e-4199-a04a-39c6f592e710" providerId="AD" clId="Web-{BC047B72-8F18-01C2-FA60-A38A99380270}" dt="2023-10-31T04:33:03.893" v="911"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BC047B72-8F18-01C2-FA60-A38A99380270}" dt="2023-10-31T04:33:03.221" v="899" actId="1076"/>
          <ac:spMkLst>
            <pc:docMk/>
            <pc:sldMk cId="3962270618" sldId="549"/>
            <ac:spMk id="3" creationId="{CBB95935-58B8-573E-DAFB-D9AE51F0FF09}"/>
          </ac:spMkLst>
        </pc:spChg>
      </pc:sldChg>
      <pc:sldChg chg="modSp">
        <pc:chgData name="Caldarelli, Leslie" userId="S::lcaldarelli_luriechildrens.org#ext#@nuwildcat.onmicrosoft.com::cd79b54d-c14e-4199-a04a-39c6f592e710" providerId="AD" clId="Web-{BC047B72-8F18-01C2-FA60-A38A99380270}" dt="2023-10-31T04:32:54.002" v="879" actId="20577"/>
        <pc:sldMkLst>
          <pc:docMk/>
          <pc:sldMk cId="3472964082" sldId="550"/>
        </pc:sldMkLst>
        <pc:spChg chg="mod">
          <ac:chgData name="Caldarelli, Leslie" userId="S::lcaldarelli_luriechildrens.org#ext#@nuwildcat.onmicrosoft.com::cd79b54d-c14e-4199-a04a-39c6f592e710" providerId="AD" clId="Web-{BC047B72-8F18-01C2-FA60-A38A99380270}" dt="2023-10-31T04:32:54.002" v="879" actId="20577"/>
          <ac:spMkLst>
            <pc:docMk/>
            <pc:sldMk cId="3472964082" sldId="550"/>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32:45.548" v="878" actId="14100"/>
        <pc:sldMkLst>
          <pc:docMk/>
          <pc:sldMk cId="2562283095" sldId="551"/>
        </pc:sldMkLst>
        <pc:spChg chg="mod">
          <ac:chgData name="Caldarelli, Leslie" userId="S::lcaldarelli_luriechildrens.org#ext#@nuwildcat.onmicrosoft.com::cd79b54d-c14e-4199-a04a-39c6f592e710" providerId="AD" clId="Web-{BC047B72-8F18-01C2-FA60-A38A99380270}" dt="2023-10-31T04:32:45.548" v="878" actId="14100"/>
          <ac:spMkLst>
            <pc:docMk/>
            <pc:sldMk cId="2562283095" sldId="551"/>
            <ac:spMk id="53"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10:18.471" v="119"/>
        <pc:sldMkLst>
          <pc:docMk/>
          <pc:sldMk cId="714682852" sldId="552"/>
        </pc:sldMkLst>
        <pc:spChg chg="mod">
          <ac:chgData name="Caldarelli, Leslie" userId="S::lcaldarelli_luriechildrens.org#ext#@nuwildcat.onmicrosoft.com::cd79b54d-c14e-4199-a04a-39c6f592e710" providerId="AD" clId="Web-{BC047B72-8F18-01C2-FA60-A38A99380270}" dt="2023-10-31T03:04:54.368" v="85" actId="20577"/>
          <ac:spMkLst>
            <pc:docMk/>
            <pc:sldMk cId="714682852" sldId="552"/>
            <ac:spMk id="2" creationId="{966FAC69-62AA-D40E-C4BD-DAD5BF599C69}"/>
          </ac:spMkLst>
        </pc:spChg>
        <pc:spChg chg="mod">
          <ac:chgData name="Caldarelli, Leslie" userId="S::lcaldarelli_luriechildrens.org#ext#@nuwildcat.onmicrosoft.com::cd79b54d-c14e-4199-a04a-39c6f592e710" providerId="AD" clId="Web-{BC047B72-8F18-01C2-FA60-A38A99380270}" dt="2023-10-31T03:06:44.091" v="95" actId="1076"/>
          <ac:spMkLst>
            <pc:docMk/>
            <pc:sldMk cId="714682852" sldId="552"/>
            <ac:spMk id="6" creationId="{D07E332C-4452-C8D5-59CC-C21023DE9083}"/>
          </ac:spMkLst>
        </pc:spChg>
        <pc:spChg chg="mod">
          <ac:chgData name="Caldarelli, Leslie" userId="S::lcaldarelli_luriechildrens.org#ext#@nuwildcat.onmicrosoft.com::cd79b54d-c14e-4199-a04a-39c6f592e710" providerId="AD" clId="Web-{BC047B72-8F18-01C2-FA60-A38A99380270}" dt="2023-10-31T03:09:24.017" v="118" actId="20577"/>
          <ac:spMkLst>
            <pc:docMk/>
            <pc:sldMk cId="714682852" sldId="552"/>
            <ac:spMk id="19" creationId="{8F56D947-B18E-6292-FB32-17E6BBE1C7B7}"/>
          </ac:spMkLst>
        </pc:spChg>
        <pc:spChg chg="mod">
          <ac:chgData name="Caldarelli, Leslie" userId="S::lcaldarelli_luriechildrens.org#ext#@nuwildcat.onmicrosoft.com::cd79b54d-c14e-4199-a04a-39c6f592e710" providerId="AD" clId="Web-{BC047B72-8F18-01C2-FA60-A38A99380270}" dt="2023-10-31T03:09:13.643" v="117" actId="14100"/>
          <ac:spMkLst>
            <pc:docMk/>
            <pc:sldMk cId="714682852" sldId="552"/>
            <ac:spMk id="20" creationId="{A9936A2B-2042-0897-3CCF-AC6DEB6DE9D0}"/>
          </ac:spMkLst>
        </pc:spChg>
        <pc:spChg chg="mod">
          <ac:chgData name="Caldarelli, Leslie" userId="S::lcaldarelli_luriechildrens.org#ext#@nuwildcat.onmicrosoft.com::cd79b54d-c14e-4199-a04a-39c6f592e710" providerId="AD" clId="Web-{BC047B72-8F18-01C2-FA60-A38A99380270}" dt="2023-10-31T03:06:05.964" v="93" actId="1076"/>
          <ac:spMkLst>
            <pc:docMk/>
            <pc:sldMk cId="714682852" sldId="552"/>
            <ac:spMk id="23" creationId="{01161B8F-C665-1E6B-2E22-400EFC600810}"/>
          </ac:spMkLst>
        </pc:spChg>
        <pc:spChg chg="mod">
          <ac:chgData name="Caldarelli, Leslie" userId="S::lcaldarelli_luriechildrens.org#ext#@nuwildcat.onmicrosoft.com::cd79b54d-c14e-4199-a04a-39c6f592e710" providerId="AD" clId="Web-{BC047B72-8F18-01C2-FA60-A38A99380270}" dt="2023-10-31T03:06:32.028" v="94" actId="1076"/>
          <ac:spMkLst>
            <pc:docMk/>
            <pc:sldMk cId="714682852" sldId="552"/>
            <ac:spMk id="39" creationId="{E29ABAB9-1C54-B808-EDD4-5D83CC77687C}"/>
          </ac:spMkLst>
        </pc:spChg>
      </pc:sldChg>
      <pc:sldChg chg="modSp">
        <pc:chgData name="Caldarelli, Leslie" userId="S::lcaldarelli_luriechildrens.org#ext#@nuwildcat.onmicrosoft.com::cd79b54d-c14e-4199-a04a-39c6f592e710" providerId="AD" clId="Web-{BC047B72-8F18-01C2-FA60-A38A99380270}" dt="2023-10-31T04:02:15.418" v="537" actId="1076"/>
        <pc:sldMkLst>
          <pc:docMk/>
          <pc:sldMk cId="3536510335" sldId="553"/>
        </pc:sldMkLst>
        <pc:spChg chg="mod">
          <ac:chgData name="Caldarelli, Leslie" userId="S::lcaldarelli_luriechildrens.org#ext#@nuwildcat.onmicrosoft.com::cd79b54d-c14e-4199-a04a-39c6f592e710" providerId="AD" clId="Web-{BC047B72-8F18-01C2-FA60-A38A99380270}" dt="2023-10-31T03:22:55.767" v="184" actId="1076"/>
          <ac:spMkLst>
            <pc:docMk/>
            <pc:sldMk cId="3536510335" sldId="553"/>
            <ac:spMk id="3" creationId="{DF1C7F80-41A4-BEE0-AE4A-B924B459AE73}"/>
          </ac:spMkLst>
        </pc:spChg>
        <pc:spChg chg="mod">
          <ac:chgData name="Caldarelli, Leslie" userId="S::lcaldarelli_luriechildrens.org#ext#@nuwildcat.onmicrosoft.com::cd79b54d-c14e-4199-a04a-39c6f592e710" providerId="AD" clId="Web-{BC047B72-8F18-01C2-FA60-A38A99380270}" dt="2023-10-31T04:02:15.418" v="537" actId="1076"/>
          <ac:spMkLst>
            <pc:docMk/>
            <pc:sldMk cId="3536510335" sldId="553"/>
            <ac:spMk id="10" creationId="{7FA2B65B-6DF5-1F48-C692-646D2CEF0E2F}"/>
          </ac:spMkLst>
        </pc:spChg>
        <pc:spChg chg="mod">
          <ac:chgData name="Caldarelli, Leslie" userId="S::lcaldarelli_luriechildrens.org#ext#@nuwildcat.onmicrosoft.com::cd79b54d-c14e-4199-a04a-39c6f592e710" providerId="AD" clId="Web-{BC047B72-8F18-01C2-FA60-A38A99380270}" dt="2023-10-31T03:23:04.314" v="185" actId="1076"/>
          <ac:spMkLst>
            <pc:docMk/>
            <pc:sldMk cId="3536510335" sldId="553"/>
            <ac:spMk id="11" creationId="{50FB034E-6814-0511-ABE9-55AF46337AE4}"/>
          </ac:spMkLst>
        </pc:spChg>
      </pc:sldChg>
      <pc:sldChg chg="modSp modNotes">
        <pc:chgData name="Caldarelli, Leslie" userId="S::lcaldarelli_luriechildrens.org#ext#@nuwildcat.onmicrosoft.com::cd79b54d-c14e-4199-a04a-39c6f592e710" providerId="AD" clId="Web-{BC047B72-8F18-01C2-FA60-A38A99380270}" dt="2023-10-31T03:17:05.691" v="150"/>
        <pc:sldMkLst>
          <pc:docMk/>
          <pc:sldMk cId="1231844700" sldId="554"/>
        </pc:sldMkLst>
        <pc:spChg chg="mod">
          <ac:chgData name="Caldarelli, Leslie" userId="S::lcaldarelli_luriechildrens.org#ext#@nuwildcat.onmicrosoft.com::cd79b54d-c14e-4199-a04a-39c6f592e710" providerId="AD" clId="Web-{BC047B72-8F18-01C2-FA60-A38A99380270}" dt="2023-10-31T03:16:56.675" v="149" actId="14100"/>
          <ac:spMkLst>
            <pc:docMk/>
            <pc:sldMk cId="1231844700" sldId="554"/>
            <ac:spMk id="2" creationId="{61FD53C4-A666-522F-F9AB-081D90D541D1}"/>
          </ac:spMkLst>
        </pc:spChg>
      </pc:sldChg>
      <pc:sldChg chg="addSp delSp modSp">
        <pc:chgData name="Caldarelli, Leslie" userId="S::lcaldarelli_luriechildrens.org#ext#@nuwildcat.onmicrosoft.com::cd79b54d-c14e-4199-a04a-39c6f592e710" providerId="AD" clId="Web-{BC047B72-8F18-01C2-FA60-A38A99380270}" dt="2023-10-31T03:16:11.346" v="143" actId="20577"/>
        <pc:sldMkLst>
          <pc:docMk/>
          <pc:sldMk cId="1522616096" sldId="555"/>
        </pc:sldMkLst>
        <pc:spChg chg="mod">
          <ac:chgData name="Caldarelli, Leslie" userId="S::lcaldarelli_luriechildrens.org#ext#@nuwildcat.onmicrosoft.com::cd79b54d-c14e-4199-a04a-39c6f592e710" providerId="AD" clId="Web-{BC047B72-8F18-01C2-FA60-A38A99380270}" dt="2023-10-31T03:10:36.831" v="120" actId="20577"/>
          <ac:spMkLst>
            <pc:docMk/>
            <pc:sldMk cId="1522616096" sldId="555"/>
            <ac:spMk id="2" creationId="{F40AE700-1499-46B3-C70A-C723802CD680}"/>
          </ac:spMkLst>
        </pc:spChg>
        <pc:spChg chg="del">
          <ac:chgData name="Caldarelli, Leslie" userId="S::lcaldarelli_luriechildrens.org#ext#@nuwildcat.onmicrosoft.com::cd79b54d-c14e-4199-a04a-39c6f592e710" providerId="AD" clId="Web-{BC047B72-8F18-01C2-FA60-A38A99380270}" dt="2023-10-31T03:11:02.722" v="121"/>
          <ac:spMkLst>
            <pc:docMk/>
            <pc:sldMk cId="1522616096" sldId="555"/>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4:41.121" v="132" actId="20577"/>
          <ac:spMkLst>
            <pc:docMk/>
            <pc:sldMk cId="1522616096" sldId="555"/>
            <ac:spMk id="4" creationId="{3D49CA6C-78ED-3124-7EE3-BBDDC9988910}"/>
          </ac:spMkLst>
        </pc:spChg>
        <pc:spChg chg="add del mod">
          <ac:chgData name="Caldarelli, Leslie" userId="S::lcaldarelli_luriechildrens.org#ext#@nuwildcat.onmicrosoft.com::cd79b54d-c14e-4199-a04a-39c6f592e710" providerId="AD" clId="Web-{BC047B72-8F18-01C2-FA60-A38A99380270}" dt="2023-10-31T03:11:32.879" v="126"/>
          <ac:spMkLst>
            <pc:docMk/>
            <pc:sldMk cId="1522616096" sldId="555"/>
            <ac:spMk id="10" creationId="{055319F5-46DE-86F3-1826-03B62D23B87B}"/>
          </ac:spMkLst>
        </pc:spChg>
        <pc:spChg chg="add mod">
          <ac:chgData name="Caldarelli, Leslie" userId="S::lcaldarelli_luriechildrens.org#ext#@nuwildcat.onmicrosoft.com::cd79b54d-c14e-4199-a04a-39c6f592e710" providerId="AD" clId="Web-{BC047B72-8F18-01C2-FA60-A38A99380270}" dt="2023-10-31T03:16:11.346" v="143" actId="20577"/>
          <ac:spMkLst>
            <pc:docMk/>
            <pc:sldMk cId="1522616096" sldId="555"/>
            <ac:spMk id="12" creationId="{FFCC26E6-1C5C-8419-8626-BD0157947192}"/>
          </ac:spMkLst>
        </pc:spChg>
      </pc:sldChg>
      <pc:sldChg chg="modSp modNotes">
        <pc:chgData name="Caldarelli, Leslie" userId="S::lcaldarelli_luriechildrens.org#ext#@nuwildcat.onmicrosoft.com::cd79b54d-c14e-4199-a04a-39c6f592e710" providerId="AD" clId="Web-{BC047B72-8F18-01C2-FA60-A38A99380270}" dt="2023-10-31T03:53:07.538" v="468"/>
        <pc:sldMkLst>
          <pc:docMk/>
          <pc:sldMk cId="1514756035" sldId="556"/>
        </pc:sldMkLst>
        <pc:spChg chg="mod">
          <ac:chgData name="Caldarelli, Leslie" userId="S::lcaldarelli_luriechildrens.org#ext#@nuwildcat.onmicrosoft.com::cd79b54d-c14e-4199-a04a-39c6f592e710" providerId="AD" clId="Web-{BC047B72-8F18-01C2-FA60-A38A99380270}" dt="2023-10-31T02:12:25.897" v="46" actId="14100"/>
          <ac:spMkLst>
            <pc:docMk/>
            <pc:sldMk cId="1514756035" sldId="556"/>
            <ac:spMk id="2" creationId="{8C7182B8-D745-6D49-E823-6B4C357520BB}"/>
          </ac:spMkLst>
        </pc:spChg>
        <pc:spChg chg="mod">
          <ac:chgData name="Caldarelli, Leslie" userId="S::lcaldarelli_luriechildrens.org#ext#@nuwildcat.onmicrosoft.com::cd79b54d-c14e-4199-a04a-39c6f592e710" providerId="AD" clId="Web-{BC047B72-8F18-01C2-FA60-A38A99380270}" dt="2023-10-31T03:03:46.193" v="71" actId="20577"/>
          <ac:spMkLst>
            <pc:docMk/>
            <pc:sldMk cId="1514756035" sldId="556"/>
            <ac:spMk id="48" creationId="{9DA002CE-213B-0EFE-03DC-C3DB65BCF003}"/>
          </ac:spMkLst>
        </pc:spChg>
        <pc:spChg chg="mod">
          <ac:chgData name="Caldarelli, Leslie" userId="S::lcaldarelli_luriechildrens.org#ext#@nuwildcat.onmicrosoft.com::cd79b54d-c14e-4199-a04a-39c6f592e710" providerId="AD" clId="Web-{BC047B72-8F18-01C2-FA60-A38A99380270}" dt="2023-10-31T03:03:03.004" v="65" actId="1076"/>
          <ac:spMkLst>
            <pc:docMk/>
            <pc:sldMk cId="1514756035" sldId="556"/>
            <ac:spMk id="50" creationId="{484FA518-5005-04AD-A148-23B555389D18}"/>
          </ac:spMkLst>
        </pc:spChg>
      </pc:sldChg>
      <pc:sldChg chg="modSp">
        <pc:chgData name="Caldarelli, Leslie" userId="S::lcaldarelli_luriechildrens.org#ext#@nuwildcat.onmicrosoft.com::cd79b54d-c14e-4199-a04a-39c6f592e710" providerId="AD" clId="Web-{BC047B72-8F18-01C2-FA60-A38A99380270}" dt="2023-10-31T03:18:25.335" v="158" actId="20577"/>
        <pc:sldMkLst>
          <pc:docMk/>
          <pc:sldMk cId="773696652" sldId="558"/>
        </pc:sldMkLst>
        <pc:spChg chg="mod">
          <ac:chgData name="Caldarelli, Leslie" userId="S::lcaldarelli_luriechildrens.org#ext#@nuwildcat.onmicrosoft.com::cd79b54d-c14e-4199-a04a-39c6f592e710" providerId="AD" clId="Web-{BC047B72-8F18-01C2-FA60-A38A99380270}" dt="2023-10-31T03:17:23.426" v="151" actId="20577"/>
          <ac:spMkLst>
            <pc:docMk/>
            <pc:sldMk cId="773696652" sldId="558"/>
            <ac:spMk id="2" creationId="{F40AE700-1499-46B3-C70A-C723802CD680}"/>
          </ac:spMkLst>
        </pc:spChg>
        <pc:spChg chg="mod">
          <ac:chgData name="Caldarelli, Leslie" userId="S::lcaldarelli_luriechildrens.org#ext#@nuwildcat.onmicrosoft.com::cd79b54d-c14e-4199-a04a-39c6f592e710" providerId="AD" clId="Web-{BC047B72-8F18-01C2-FA60-A38A99380270}" dt="2023-10-31T03:18:25.335" v="158" actId="20577"/>
          <ac:spMkLst>
            <pc:docMk/>
            <pc:sldMk cId="773696652" sldId="558"/>
            <ac:spMk id="3" creationId="{1C814D25-66C5-ACFC-3102-DB1C47E8E790}"/>
          </ac:spMkLst>
        </pc:spChg>
        <pc:spChg chg="mod">
          <ac:chgData name="Caldarelli, Leslie" userId="S::lcaldarelli_luriechildrens.org#ext#@nuwildcat.onmicrosoft.com::cd79b54d-c14e-4199-a04a-39c6f592e710" providerId="AD" clId="Web-{BC047B72-8F18-01C2-FA60-A38A99380270}" dt="2023-10-31T03:18:16.382" v="157" actId="20577"/>
          <ac:spMkLst>
            <pc:docMk/>
            <pc:sldMk cId="773696652" sldId="558"/>
            <ac:spMk id="5" creationId="{19C1D751-08DD-BD76-1181-C434C9849C27}"/>
          </ac:spMkLst>
        </pc:spChg>
        <pc:spChg chg="mod">
          <ac:chgData name="Caldarelli, Leslie" userId="S::lcaldarelli_luriechildrens.org#ext#@nuwildcat.onmicrosoft.com::cd79b54d-c14e-4199-a04a-39c6f592e710" providerId="AD" clId="Web-{BC047B72-8F18-01C2-FA60-A38A99380270}" dt="2023-10-31T03:17:58.615" v="154" actId="1076"/>
          <ac:spMkLst>
            <pc:docMk/>
            <pc:sldMk cId="773696652" sldId="558"/>
            <ac:spMk id="7" creationId="{98AEAD99-3E06-8D3F-3F0C-CDC9176523B6}"/>
          </ac:spMkLst>
        </pc:spChg>
      </pc:sldChg>
      <pc:sldChg chg="modSp">
        <pc:chgData name="Caldarelli, Leslie" userId="S::lcaldarelli_luriechildrens.org#ext#@nuwildcat.onmicrosoft.com::cd79b54d-c14e-4199-a04a-39c6f592e710" providerId="AD" clId="Web-{BC047B72-8F18-01C2-FA60-A38A99380270}" dt="2023-10-31T04:33:03.814" v="908" actId="20577"/>
        <pc:sldMkLst>
          <pc:docMk/>
          <pc:sldMk cId="3067427377" sldId="560"/>
        </pc:sldMkLst>
        <pc:spChg chg="mod">
          <ac:chgData name="Caldarelli, Leslie" userId="S::lcaldarelli_luriechildrens.org#ext#@nuwildcat.onmicrosoft.com::cd79b54d-c14e-4199-a04a-39c6f592e710" providerId="AD" clId="Web-{BC047B72-8F18-01C2-FA60-A38A99380270}" dt="2023-10-31T04:33:03.814" v="908"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BC047B72-8F18-01C2-FA60-A38A99380270}" dt="2023-10-31T04:12:21.956" v="658" actId="14100"/>
        <pc:sldMkLst>
          <pc:docMk/>
          <pc:sldMk cId="3845418986" sldId="563"/>
        </pc:sldMkLst>
        <pc:spChg chg="mod">
          <ac:chgData name="Caldarelli, Leslie" userId="S::lcaldarelli_luriechildrens.org#ext#@nuwildcat.onmicrosoft.com::cd79b54d-c14e-4199-a04a-39c6f592e710" providerId="AD" clId="Web-{BC047B72-8F18-01C2-FA60-A38A99380270}" dt="2023-10-31T04:12:21.956" v="658" actId="14100"/>
          <ac:spMkLst>
            <pc:docMk/>
            <pc:sldMk cId="3845418986" sldId="563"/>
            <ac:spMk id="33" creationId="{5C2A740E-7A02-31A5-EAAF-9CD8C0A41D47}"/>
          </ac:spMkLst>
        </pc:spChg>
        <pc:spChg chg="mod">
          <ac:chgData name="Caldarelli, Leslie" userId="S::lcaldarelli_luriechildrens.org#ext#@nuwildcat.onmicrosoft.com::cd79b54d-c14e-4199-a04a-39c6f592e710" providerId="AD" clId="Web-{BC047B72-8F18-01C2-FA60-A38A99380270}" dt="2023-10-31T04:11:12.594" v="650" actId="14100"/>
          <ac:spMkLst>
            <pc:docMk/>
            <pc:sldMk cId="3845418986" sldId="563"/>
            <ac:spMk id="49" creationId="{4FD6BDF7-E6F5-6DC8-9332-E3E0DB7057F0}"/>
          </ac:spMkLst>
        </pc:spChg>
        <pc:spChg chg="mod">
          <ac:chgData name="Caldarelli, Leslie" userId="S::lcaldarelli_luriechildrens.org#ext#@nuwildcat.onmicrosoft.com::cd79b54d-c14e-4199-a04a-39c6f592e710" providerId="AD" clId="Web-{BC047B72-8F18-01C2-FA60-A38A99380270}" dt="2023-10-31T04:12:13.190" v="657" actId="14100"/>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BC047B72-8F18-01C2-FA60-A38A99380270}" dt="2023-10-31T04:10:55.515" v="648" actId="1076"/>
        <pc:sldMkLst>
          <pc:docMk/>
          <pc:sldMk cId="1536434647" sldId="564"/>
        </pc:sldMkLst>
        <pc:spChg chg="mod">
          <ac:chgData name="Caldarelli, Leslie" userId="S::lcaldarelli_luriechildrens.org#ext#@nuwildcat.onmicrosoft.com::cd79b54d-c14e-4199-a04a-39c6f592e710" providerId="AD" clId="Web-{BC047B72-8F18-01C2-FA60-A38A99380270}" dt="2023-10-31T04:10:29.577" v="645" actId="14100"/>
          <ac:spMkLst>
            <pc:docMk/>
            <pc:sldMk cId="1536434647" sldId="564"/>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10:55.515" v="648" actId="1076"/>
          <ac:spMkLst>
            <pc:docMk/>
            <pc:sldMk cId="1536434647" sldId="564"/>
            <ac:spMk id="41" creationId="{00000000-0000-0000-0000-000000000000}"/>
          </ac:spMkLst>
        </pc:spChg>
        <pc:spChg chg="mod">
          <ac:chgData name="Caldarelli, Leslie" userId="S::lcaldarelli_luriechildrens.org#ext#@nuwildcat.onmicrosoft.com::cd79b54d-c14e-4199-a04a-39c6f592e710" providerId="AD" clId="Web-{BC047B72-8F18-01C2-FA60-A38A99380270}" dt="2023-10-31T04:10:21.014" v="644" actId="14100"/>
          <ac:spMkLst>
            <pc:docMk/>
            <pc:sldMk cId="1536434647" sldId="564"/>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09:55.138" v="640" actId="1076"/>
          <ac:spMkLst>
            <pc:docMk/>
            <pc:sldMk cId="1536434647" sldId="564"/>
            <ac:spMk id="51" creationId="{DADB789B-D1D8-A439-C1FC-0121F131E706}"/>
          </ac:spMkLst>
        </pc:spChg>
        <pc:spChg chg="mod">
          <ac:chgData name="Caldarelli, Leslie" userId="S::lcaldarelli_luriechildrens.org#ext#@nuwildcat.onmicrosoft.com::cd79b54d-c14e-4199-a04a-39c6f592e710" providerId="AD" clId="Web-{BC047B72-8F18-01C2-FA60-A38A99380270}" dt="2023-10-31T04:10:03.935" v="641" actId="1076"/>
          <ac:spMkLst>
            <pc:docMk/>
            <pc:sldMk cId="1536434647" sldId="564"/>
            <ac:spMk id="53" creationId="{7AA1F7FA-AA52-FED3-1784-BE66C8A7FBFC}"/>
          </ac:spMkLst>
        </pc:spChg>
      </pc:sldChg>
      <pc:sldChg chg="modSp">
        <pc:chgData name="Caldarelli, Leslie" userId="S::lcaldarelli_luriechildrens.org#ext#@nuwildcat.onmicrosoft.com::cd79b54d-c14e-4199-a04a-39c6f592e710" providerId="AD" clId="Web-{BC047B72-8F18-01C2-FA60-A38A99380270}" dt="2023-10-31T04:04:35.001" v="597" actId="20577"/>
        <pc:sldMkLst>
          <pc:docMk/>
          <pc:sldMk cId="3004937174" sldId="565"/>
        </pc:sldMkLst>
        <pc:spChg chg="mod">
          <ac:chgData name="Caldarelli, Leslie" userId="S::lcaldarelli_luriechildrens.org#ext#@nuwildcat.onmicrosoft.com::cd79b54d-c14e-4199-a04a-39c6f592e710" providerId="AD" clId="Web-{BC047B72-8F18-01C2-FA60-A38A99380270}" dt="2023-10-31T04:04:34.626" v="591" actId="14100"/>
          <ac:spMkLst>
            <pc:docMk/>
            <pc:sldMk cId="3004937174" sldId="565"/>
            <ac:spMk id="23" creationId="{00000000-0000-0000-0000-000000000000}"/>
          </ac:spMkLst>
        </pc:spChg>
        <pc:spChg chg="mod">
          <ac:chgData name="Caldarelli, Leslie" userId="S::lcaldarelli_luriechildrens.org#ext#@nuwildcat.onmicrosoft.com::cd79b54d-c14e-4199-a04a-39c6f592e710" providerId="AD" clId="Web-{BC047B72-8F18-01C2-FA60-A38A99380270}" dt="2023-10-31T04:04:35.001" v="597" actId="20577"/>
          <ac:spMkLst>
            <pc:docMk/>
            <pc:sldMk cId="3004937174" sldId="565"/>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4:34.720" v="593" actId="14100"/>
          <ac:spMkLst>
            <pc:docMk/>
            <pc:sldMk cId="3004937174" sldId="565"/>
            <ac:spMk id="4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09:02.605" v="635" actId="20577"/>
        <pc:sldMkLst>
          <pc:docMk/>
          <pc:sldMk cId="3419957415" sldId="577"/>
        </pc:sldMkLst>
        <pc:spChg chg="mod">
          <ac:chgData name="Caldarelli, Leslie" userId="S::lcaldarelli_luriechildrens.org#ext#@nuwildcat.onmicrosoft.com::cd79b54d-c14e-4199-a04a-39c6f592e710" providerId="AD" clId="Web-{BC047B72-8F18-01C2-FA60-A38A99380270}" dt="2023-10-31T04:09:02.605" v="635" actId="20577"/>
          <ac:spMkLst>
            <pc:docMk/>
            <pc:sldMk cId="3419957415" sldId="577"/>
            <ac:spMk id="53" creationId="{00000000-0000-0000-0000-000000000000}"/>
          </ac:spMkLst>
        </pc:spChg>
        <pc:spChg chg="mod">
          <ac:chgData name="Caldarelli, Leslie" userId="S::lcaldarelli_luriechildrens.org#ext#@nuwildcat.onmicrosoft.com::cd79b54d-c14e-4199-a04a-39c6f592e710" providerId="AD" clId="Web-{BC047B72-8F18-01C2-FA60-A38A99380270}" dt="2023-10-31T04:08:36.385" v="631" actId="14100"/>
          <ac:spMkLst>
            <pc:docMk/>
            <pc:sldMk cId="3419957415" sldId="577"/>
            <ac:spMk id="57"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4:26:17.362" v="809"/>
        <pc:sldMkLst>
          <pc:docMk/>
          <pc:sldMk cId="3030449316" sldId="579"/>
        </pc:sldMkLst>
        <pc:spChg chg="mod">
          <ac:chgData name="Caldarelli, Leslie" userId="S::lcaldarelli_luriechildrens.org#ext#@nuwildcat.onmicrosoft.com::cd79b54d-c14e-4199-a04a-39c6f592e710" providerId="AD" clId="Web-{BC047B72-8F18-01C2-FA60-A38A99380270}" dt="2023-10-31T04:18:28.688" v="756" actId="20577"/>
          <ac:spMkLst>
            <pc:docMk/>
            <pc:sldMk cId="3030449316" sldId="579"/>
            <ac:spMk id="44" creationId="{00000000-0000-0000-0000-000000000000}"/>
          </ac:spMkLst>
        </pc:spChg>
        <pc:spChg chg="mod">
          <ac:chgData name="Caldarelli, Leslie" userId="S::lcaldarelli_luriechildrens.org#ext#@nuwildcat.onmicrosoft.com::cd79b54d-c14e-4199-a04a-39c6f592e710" providerId="AD" clId="Web-{BC047B72-8F18-01C2-FA60-A38A99380270}" dt="2023-10-31T04:25:07.797" v="802" actId="1076"/>
          <ac:spMkLst>
            <pc:docMk/>
            <pc:sldMk cId="3030449316" sldId="579"/>
            <ac:spMk id="47"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4:17.163" v="707" actId="1076"/>
        <pc:sldMkLst>
          <pc:docMk/>
          <pc:sldMk cId="3429940818" sldId="581"/>
        </pc:sldMkLst>
        <pc:spChg chg="mod">
          <ac:chgData name="Caldarelli, Leslie" userId="S::lcaldarelli_luriechildrens.org#ext#@nuwildcat.onmicrosoft.com::cd79b54d-c14e-4199-a04a-39c6f592e710" providerId="AD" clId="Web-{BC047B72-8F18-01C2-FA60-A38A99380270}" dt="2023-10-31T04:12:48.425" v="663" actId="20577"/>
          <ac:spMkLst>
            <pc:docMk/>
            <pc:sldMk cId="3429940818" sldId="581"/>
            <ac:spMk id="62" creationId="{00000000-0000-0000-0000-000000000000}"/>
          </ac:spMkLst>
        </pc:spChg>
        <pc:grpChg chg="mod">
          <ac:chgData name="Caldarelli, Leslie" userId="S::lcaldarelli_luriechildrens.org#ext#@nuwildcat.onmicrosoft.com::cd79b54d-c14e-4199-a04a-39c6f592e710" providerId="AD" clId="Web-{BC047B72-8F18-01C2-FA60-A38A99380270}" dt="2023-10-31T04:14:17.163" v="707" actId="1076"/>
          <ac:grpSpMkLst>
            <pc:docMk/>
            <pc:sldMk cId="3429940818" sldId="581"/>
            <ac:grpSpMk id="6" creationId="{00000000-0000-0000-0000-000000000000}"/>
          </ac:grpSpMkLst>
        </pc:grpChg>
      </pc:sldChg>
      <pc:sldChg chg="modSp modNotes">
        <pc:chgData name="Caldarelli, Leslie" userId="S::lcaldarelli_luriechildrens.org#ext#@nuwildcat.onmicrosoft.com::cd79b54d-c14e-4199-a04a-39c6f592e710" providerId="AD" clId="Web-{BC047B72-8F18-01C2-FA60-A38A99380270}" dt="2023-10-31T04:05:26.956" v="608" actId="20577"/>
        <pc:sldMkLst>
          <pc:docMk/>
          <pc:sldMk cId="3870927286" sldId="583"/>
        </pc:sldMkLst>
        <pc:spChg chg="mod">
          <ac:chgData name="Caldarelli, Leslie" userId="S::lcaldarelli_luriechildrens.org#ext#@nuwildcat.onmicrosoft.com::cd79b54d-c14e-4199-a04a-39c6f592e710" providerId="AD" clId="Web-{BC047B72-8F18-01C2-FA60-A38A99380270}" dt="2023-10-31T03:37:37.894" v="300" actId="1076"/>
          <ac:spMkLst>
            <pc:docMk/>
            <pc:sldMk cId="3870927286" sldId="583"/>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0:41.148" v="521" actId="20577"/>
          <ac:spMkLst>
            <pc:docMk/>
            <pc:sldMk cId="3870927286" sldId="583"/>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3:58:48.738" v="510" actId="20577"/>
          <ac:spMkLst>
            <pc:docMk/>
            <pc:sldMk cId="3870927286" sldId="583"/>
            <ac:spMk id="27" creationId="{00000000-0000-0000-0000-000000000000}"/>
          </ac:spMkLst>
        </pc:spChg>
        <pc:spChg chg="mod">
          <ac:chgData name="Caldarelli, Leslie" userId="S::lcaldarelli_luriechildrens.org#ext#@nuwildcat.onmicrosoft.com::cd79b54d-c14e-4199-a04a-39c6f592e710" providerId="AD" clId="Web-{BC047B72-8F18-01C2-FA60-A38A99380270}" dt="2023-10-31T04:05:26.956" v="608" actId="20577"/>
          <ac:spMkLst>
            <pc:docMk/>
            <pc:sldMk cId="3870927286" sldId="583"/>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3:57:29.251" v="503" actId="20577"/>
          <ac:spMkLst>
            <pc:docMk/>
            <pc:sldMk cId="3870927286" sldId="583"/>
            <ac:spMk id="39" creationId="{00000000-0000-0000-0000-000000000000}"/>
          </ac:spMkLst>
        </pc:spChg>
        <pc:spChg chg="mod">
          <ac:chgData name="Caldarelli, Leslie" userId="S::lcaldarelli_luriechildrens.org#ext#@nuwildcat.onmicrosoft.com::cd79b54d-c14e-4199-a04a-39c6f592e710" providerId="AD" clId="Web-{BC047B72-8F18-01C2-FA60-A38A99380270}" dt="2023-10-31T04:01:58.292" v="534" actId="1076"/>
          <ac:spMkLst>
            <pc:docMk/>
            <pc:sldMk cId="3870927286" sldId="583"/>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3:37:29.300" v="299" actId="1076"/>
          <ac:spMkLst>
            <pc:docMk/>
            <pc:sldMk cId="3870927286" sldId="583"/>
            <ac:spMk id="51" creationId="{00000000-0000-0000-0000-000000000000}"/>
          </ac:spMkLst>
        </pc:spChg>
      </pc:sldChg>
      <pc:sldChg chg="modSp modNotes">
        <pc:chgData name="Caldarelli, Leslie" userId="S::lcaldarelli_luriechildrens.org#ext#@nuwildcat.onmicrosoft.com::cd79b54d-c14e-4199-a04a-39c6f592e710" providerId="AD" clId="Web-{BC047B72-8F18-01C2-FA60-A38A99380270}" dt="2023-10-31T03:53:25.023" v="469" actId="20577"/>
        <pc:sldMkLst>
          <pc:docMk/>
          <pc:sldMk cId="3573947264" sldId="584"/>
        </pc:sldMkLst>
        <pc:spChg chg="mod">
          <ac:chgData name="Caldarelli, Leslie" userId="S::lcaldarelli_luriechildrens.org#ext#@nuwildcat.onmicrosoft.com::cd79b54d-c14e-4199-a04a-39c6f592e710" providerId="AD" clId="Web-{BC047B72-8F18-01C2-FA60-A38A99380270}" dt="2023-10-31T03:53:25.023" v="469" actId="20577"/>
          <ac:spMkLst>
            <pc:docMk/>
            <pc:sldMk cId="3573947264" sldId="584"/>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30:28.418" v="851"/>
        <pc:sldMkLst>
          <pc:docMk/>
          <pc:sldMk cId="3561966490" sldId="585"/>
        </pc:sldMkLst>
        <pc:spChg chg="mod">
          <ac:chgData name="Caldarelli, Leslie" userId="S::lcaldarelli_luriechildrens.org#ext#@nuwildcat.onmicrosoft.com::cd79b54d-c14e-4199-a04a-39c6f592e710" providerId="AD" clId="Web-{BC047B72-8F18-01C2-FA60-A38A99380270}" dt="2023-10-31T04:26:26.065" v="810" actId="1076"/>
          <ac:spMkLst>
            <pc:docMk/>
            <pc:sldMk cId="3561966490" sldId="585"/>
            <ac:spMk id="4" creationId="{00000000-0000-0000-0000-000000000000}"/>
          </ac:spMkLst>
        </pc:spChg>
        <pc:spChg chg="mod">
          <ac:chgData name="Caldarelli, Leslie" userId="S::lcaldarelli_luriechildrens.org#ext#@nuwildcat.onmicrosoft.com::cd79b54d-c14e-4199-a04a-39c6f592e710" providerId="AD" clId="Web-{BC047B72-8F18-01C2-FA60-A38A99380270}" dt="2023-10-31T04:27:26.224" v="816" actId="20577"/>
          <ac:spMkLst>
            <pc:docMk/>
            <pc:sldMk cId="3561966490" sldId="585"/>
            <ac:spMk id="7" creationId="{00000000-0000-0000-0000-000000000000}"/>
          </ac:spMkLst>
        </pc:spChg>
        <pc:spChg chg="mod">
          <ac:chgData name="Caldarelli, Leslie" userId="S::lcaldarelli_luriechildrens.org#ext#@nuwildcat.onmicrosoft.com::cd79b54d-c14e-4199-a04a-39c6f592e710" providerId="AD" clId="Web-{BC047B72-8F18-01C2-FA60-A38A99380270}" dt="2023-10-31T04:27:08.926" v="815" actId="20577"/>
          <ac:spMkLst>
            <pc:docMk/>
            <pc:sldMk cId="3561966490" sldId="585"/>
            <ac:spMk id="18" creationId="{00000000-0000-0000-0000-000000000000}"/>
          </ac:spMkLst>
        </pc:spChg>
        <pc:spChg chg="mod">
          <ac:chgData name="Caldarelli, Leslie" userId="S::lcaldarelli_luriechildrens.org#ext#@nuwildcat.onmicrosoft.com::cd79b54d-c14e-4199-a04a-39c6f592e710" providerId="AD" clId="Web-{BC047B72-8F18-01C2-FA60-A38A99380270}" dt="2023-10-31T04:27:00.410" v="814" actId="20577"/>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27:43.334" v="817"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BC047B72-8F18-01C2-FA60-A38A99380270}" dt="2023-10-31T04:28:00.350" v="819" actId="20577"/>
          <ac:spMkLst>
            <pc:docMk/>
            <pc:sldMk cId="3561966490" sldId="585"/>
            <ac:spMk id="2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26:00.127" v="807" actId="20577"/>
        <pc:sldMkLst>
          <pc:docMk/>
          <pc:sldMk cId="3809547791" sldId="586"/>
        </pc:sldMkLst>
        <pc:spChg chg="mod">
          <ac:chgData name="Caldarelli, Leslie" userId="S::lcaldarelli_luriechildrens.org#ext#@nuwildcat.onmicrosoft.com::cd79b54d-c14e-4199-a04a-39c6f592e710" providerId="AD" clId="Web-{BC047B72-8F18-01C2-FA60-A38A99380270}" dt="2023-10-31T04:25:16.719" v="803" actId="20577"/>
          <ac:spMkLst>
            <pc:docMk/>
            <pc:sldMk cId="3809547791" sldId="586"/>
            <ac:spMk id="36" creationId="{00000000-0000-0000-0000-000000000000}"/>
          </ac:spMkLst>
        </pc:spChg>
        <pc:spChg chg="mod">
          <ac:chgData name="Caldarelli, Leslie" userId="S::lcaldarelli_luriechildrens.org#ext#@nuwildcat.onmicrosoft.com::cd79b54d-c14e-4199-a04a-39c6f592e710" providerId="AD" clId="Web-{BC047B72-8F18-01C2-FA60-A38A99380270}" dt="2023-10-31T04:25:51.517" v="806" actId="14100"/>
          <ac:spMkLst>
            <pc:docMk/>
            <pc:sldMk cId="3809547791" sldId="586"/>
            <ac:spMk id="45" creationId="{C77E478B-4FF6-99F3-8EF6-9EC4CBF20CDC}"/>
          </ac:spMkLst>
        </pc:spChg>
        <pc:spChg chg="mod">
          <ac:chgData name="Caldarelli, Leslie" userId="S::lcaldarelli_luriechildrens.org#ext#@nuwildcat.onmicrosoft.com::cd79b54d-c14e-4199-a04a-39c6f592e710" providerId="AD" clId="Web-{BC047B72-8F18-01C2-FA60-A38A99380270}" dt="2023-10-31T04:26:00.127" v="807" actId="20577"/>
          <ac:spMkLst>
            <pc:docMk/>
            <pc:sldMk cId="3809547791" sldId="586"/>
            <ac:spMk id="47" creationId="{B8E0B5F5-B6A2-711D-2F6F-422E5E01B221}"/>
          </ac:spMkLst>
        </pc:spChg>
      </pc:sldChg>
      <pc:sldChg chg="modSp">
        <pc:chgData name="Caldarelli, Leslie" userId="S::lcaldarelli_luriechildrens.org#ext#@nuwildcat.onmicrosoft.com::cd79b54d-c14e-4199-a04a-39c6f592e710" providerId="AD" clId="Web-{BC047B72-8F18-01C2-FA60-A38A99380270}" dt="2023-10-31T04:18:19.985" v="754" actId="20577"/>
        <pc:sldMkLst>
          <pc:docMk/>
          <pc:sldMk cId="1598854783" sldId="587"/>
        </pc:sldMkLst>
        <pc:spChg chg="mod">
          <ac:chgData name="Caldarelli, Leslie" userId="S::lcaldarelli_luriechildrens.org#ext#@nuwildcat.onmicrosoft.com::cd79b54d-c14e-4199-a04a-39c6f592e710" providerId="AD" clId="Web-{BC047B72-8F18-01C2-FA60-A38A99380270}" dt="2023-10-31T04:18:19.985" v="754" actId="20577"/>
          <ac:spMkLst>
            <pc:docMk/>
            <pc:sldMk cId="1598854783" sldId="587"/>
            <ac:spMk id="42" creationId="{00000000-0000-0000-0000-000000000000}"/>
          </ac:spMkLst>
        </pc:spChg>
        <pc:spChg chg="mod">
          <ac:chgData name="Caldarelli, Leslie" userId="S::lcaldarelli_luriechildrens.org#ext#@nuwildcat.onmicrosoft.com::cd79b54d-c14e-4199-a04a-39c6f592e710" providerId="AD" clId="Web-{BC047B72-8F18-01C2-FA60-A38A99380270}" dt="2023-10-31T04:17:35.936" v="743" actId="20577"/>
          <ac:spMkLst>
            <pc:docMk/>
            <pc:sldMk cId="1598854783" sldId="587"/>
            <ac:spMk id="47" creationId="{00000000-0000-0000-0000-000000000000}"/>
          </ac:spMkLst>
        </pc:spChg>
        <pc:spChg chg="mod">
          <ac:chgData name="Caldarelli, Leslie" userId="S::lcaldarelli_luriechildrens.org#ext#@nuwildcat.onmicrosoft.com::cd79b54d-c14e-4199-a04a-39c6f592e710" providerId="AD" clId="Web-{BC047B72-8F18-01C2-FA60-A38A99380270}" dt="2023-10-31T04:17:36.046" v="744" actId="1076"/>
          <ac:spMkLst>
            <pc:docMk/>
            <pc:sldMk cId="1598854783" sldId="587"/>
            <ac:spMk id="49" creationId="{E2210AC7-88E9-3DF2-B6FD-284390179A81}"/>
          </ac:spMkLst>
        </pc:spChg>
        <pc:spChg chg="mod">
          <ac:chgData name="Caldarelli, Leslie" userId="S::lcaldarelli_luriechildrens.org#ext#@nuwildcat.onmicrosoft.com::cd79b54d-c14e-4199-a04a-39c6f592e710" providerId="AD" clId="Web-{BC047B72-8F18-01C2-FA60-A38A99380270}" dt="2023-10-31T04:17:54.124" v="752" actId="14100"/>
          <ac:spMkLst>
            <pc:docMk/>
            <pc:sldMk cId="1598854783" sldId="587"/>
            <ac:spMk id="51" creationId="{24A2DEC9-4CC0-CBF0-5D9A-524D9EFAEE1C}"/>
          </ac:spMkLst>
        </pc:spChg>
        <pc:spChg chg="mod">
          <ac:chgData name="Caldarelli, Leslie" userId="S::lcaldarelli_luriechildrens.org#ext#@nuwildcat.onmicrosoft.com::cd79b54d-c14e-4199-a04a-39c6f592e710" providerId="AD" clId="Web-{BC047B72-8F18-01C2-FA60-A38A99380270}" dt="2023-10-31T04:17:36.452" v="749" actId="1076"/>
          <ac:spMkLst>
            <pc:docMk/>
            <pc:sldMk cId="1598854783" sldId="587"/>
            <ac:spMk id="53" creationId="{0E0706BB-4123-83DA-E93A-66A50F4484A3}"/>
          </ac:spMkLst>
        </pc:spChg>
      </pc:sldChg>
      <pc:sldChg chg="modSp">
        <pc:chgData name="Caldarelli, Leslie" userId="S::lcaldarelli_luriechildrens.org#ext#@nuwildcat.onmicrosoft.com::cd79b54d-c14e-4199-a04a-39c6f592e710" providerId="AD" clId="Web-{BC047B72-8F18-01C2-FA60-A38A99380270}" dt="2023-10-31T04:17:35.796" v="740" actId="1076"/>
        <pc:sldMkLst>
          <pc:docMk/>
          <pc:sldMk cId="3832963388" sldId="588"/>
        </pc:sldMkLst>
        <pc:spChg chg="mod">
          <ac:chgData name="Caldarelli, Leslie" userId="S::lcaldarelli_luriechildrens.org#ext#@nuwildcat.onmicrosoft.com::cd79b54d-c14e-4199-a04a-39c6f592e710" providerId="AD" clId="Web-{BC047B72-8F18-01C2-FA60-A38A99380270}" dt="2023-10-31T04:17:35.608" v="738" actId="1076"/>
          <ac:spMkLst>
            <pc:docMk/>
            <pc:sldMk cId="3832963388" sldId="588"/>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6:51.591" v="729" actId="20577"/>
          <ac:spMkLst>
            <pc:docMk/>
            <pc:sldMk cId="3832963388" sldId="588"/>
            <ac:spMk id="34" creationId="{00000000-0000-0000-0000-000000000000}"/>
          </ac:spMkLst>
        </pc:spChg>
        <pc:spChg chg="mod">
          <ac:chgData name="Caldarelli, Leslie" userId="S::lcaldarelli_luriechildrens.org#ext#@nuwildcat.onmicrosoft.com::cd79b54d-c14e-4199-a04a-39c6f592e710" providerId="AD" clId="Web-{BC047B72-8F18-01C2-FA60-A38A99380270}" dt="2023-10-31T04:17:35.702" v="739" actId="1076"/>
          <ac:spMkLst>
            <pc:docMk/>
            <pc:sldMk cId="3832963388" sldId="588"/>
            <ac:spMk id="36" creationId="{3EFC5C80-E693-6C51-4DEF-583812BEAB54}"/>
          </ac:spMkLst>
        </pc:spChg>
        <pc:spChg chg="mod">
          <ac:chgData name="Caldarelli, Leslie" userId="S::lcaldarelli_luriechildrens.org#ext#@nuwildcat.onmicrosoft.com::cd79b54d-c14e-4199-a04a-39c6f592e710" providerId="AD" clId="Web-{BC047B72-8F18-01C2-FA60-A38A99380270}" dt="2023-10-31T04:17:35.796" v="740" actId="1076"/>
          <ac:spMkLst>
            <pc:docMk/>
            <pc:sldMk cId="3832963388" sldId="588"/>
            <ac:spMk id="38" creationId="{9B32A794-89CE-3CF7-CCFB-FB03BB567C6D}"/>
          </ac:spMkLst>
        </pc:spChg>
      </pc:sldChg>
      <pc:sldChg chg="modSp">
        <pc:chgData name="Caldarelli, Leslie" userId="S::lcaldarelli_luriechildrens.org#ext#@nuwildcat.onmicrosoft.com::cd79b54d-c14e-4199-a04a-39c6f592e710" providerId="AD" clId="Web-{BC047B72-8F18-01C2-FA60-A38A99380270}" dt="2023-10-31T04:17:08.841" v="731" actId="20577"/>
        <pc:sldMkLst>
          <pc:docMk/>
          <pc:sldMk cId="435998680" sldId="589"/>
        </pc:sldMkLst>
        <pc:spChg chg="mod">
          <ac:chgData name="Caldarelli, Leslie" userId="S::lcaldarelli_luriechildrens.org#ext#@nuwildcat.onmicrosoft.com::cd79b54d-c14e-4199-a04a-39c6f592e710" providerId="AD" clId="Web-{BC047B72-8F18-01C2-FA60-A38A99380270}" dt="2023-10-31T04:16:08.417" v="721" actId="20577"/>
          <ac:spMkLst>
            <pc:docMk/>
            <pc:sldMk cId="435998680" sldId="589"/>
            <ac:spMk id="11" creationId="{00000000-0000-0000-0000-000000000000}"/>
          </ac:spMkLst>
        </pc:spChg>
        <pc:spChg chg="mod">
          <ac:chgData name="Caldarelli, Leslie" userId="S::lcaldarelli_luriechildrens.org#ext#@nuwildcat.onmicrosoft.com::cd79b54d-c14e-4199-a04a-39c6f592e710" providerId="AD" clId="Web-{BC047B72-8F18-01C2-FA60-A38A99380270}" dt="2023-10-31T04:16:25.668" v="724"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17:08.841" v="731" actId="20577"/>
          <ac:spMkLst>
            <pc:docMk/>
            <pc:sldMk cId="435998680" sldId="589"/>
            <ac:spMk id="17" creationId="{00000000-0000-0000-0000-000000000000}"/>
          </ac:spMkLst>
        </pc:spChg>
        <pc:spChg chg="mod">
          <ac:chgData name="Caldarelli, Leslie" userId="S::lcaldarelli_luriechildrens.org#ext#@nuwildcat.onmicrosoft.com::cd79b54d-c14e-4199-a04a-39c6f592e710" providerId="AD" clId="Web-{BC047B72-8F18-01C2-FA60-A38A99380270}" dt="2023-10-31T04:15:34.338" v="717" actId="1076"/>
          <ac:spMkLst>
            <pc:docMk/>
            <pc:sldMk cId="435998680" sldId="589"/>
            <ac:spMk id="19" creationId="{4F38B046-5CD5-F005-45E3-2034830DFD34}"/>
          </ac:spMkLst>
        </pc:spChg>
        <pc:spChg chg="mod">
          <ac:chgData name="Caldarelli, Leslie" userId="S::lcaldarelli_luriechildrens.org#ext#@nuwildcat.onmicrosoft.com::cd79b54d-c14e-4199-a04a-39c6f592e710" providerId="AD" clId="Web-{BC047B72-8F18-01C2-FA60-A38A99380270}" dt="2023-10-31T04:15:59.870" v="720" actId="20577"/>
          <ac:spMkLst>
            <pc:docMk/>
            <pc:sldMk cId="435998680" sldId="589"/>
            <ac:spMk id="21" creationId="{A35E0C3C-CC22-A1A0-8E94-9EEE65798BD1}"/>
          </ac:spMkLst>
        </pc:spChg>
      </pc:sldChg>
      <pc:sldChg chg="modSp">
        <pc:chgData name="Caldarelli, Leslie" userId="S::lcaldarelli_luriechildrens.org#ext#@nuwildcat.onmicrosoft.com::cd79b54d-c14e-4199-a04a-39c6f592e710" providerId="AD" clId="Web-{BC047B72-8F18-01C2-FA60-A38A99380270}" dt="2023-10-31T04:17:26.123" v="735" actId="20577"/>
        <pc:sldMkLst>
          <pc:docMk/>
          <pc:sldMk cId="595546358" sldId="590"/>
        </pc:sldMkLst>
        <pc:spChg chg="mod">
          <ac:chgData name="Caldarelli, Leslie" userId="S::lcaldarelli_luriechildrens.org#ext#@nuwildcat.onmicrosoft.com::cd79b54d-c14e-4199-a04a-39c6f592e710" providerId="AD" clId="Web-{BC047B72-8F18-01C2-FA60-A38A99380270}" dt="2023-10-31T04:14:42.773" v="711" actId="20577"/>
          <ac:spMkLst>
            <pc:docMk/>
            <pc:sldMk cId="595546358" sldId="590"/>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5:25.791" v="716" actId="20577"/>
          <ac:spMkLst>
            <pc:docMk/>
            <pc:sldMk cId="595546358" sldId="590"/>
            <ac:spMk id="25" creationId="{00000000-0000-0000-0000-000000000000}"/>
          </ac:spMkLst>
        </pc:spChg>
        <pc:spChg chg="mod">
          <ac:chgData name="Caldarelli, Leslie" userId="S::lcaldarelli_luriechildrens.org#ext#@nuwildcat.onmicrosoft.com::cd79b54d-c14e-4199-a04a-39c6f592e710" providerId="AD" clId="Web-{BC047B72-8F18-01C2-FA60-A38A99380270}" dt="2023-10-31T04:17:26.123" v="735" actId="20577"/>
          <ac:spMkLst>
            <pc:docMk/>
            <pc:sldMk cId="595546358" sldId="590"/>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14:59.884" v="713" actId="1076"/>
          <ac:spMkLst>
            <pc:docMk/>
            <pc:sldMk cId="595546358" sldId="590"/>
            <ac:spMk id="30" creationId="{53721EF8-C35D-834E-9339-D65FFE7AFF9A}"/>
          </ac:spMkLst>
        </pc:spChg>
        <pc:spChg chg="mod">
          <ac:chgData name="Caldarelli, Leslie" userId="S::lcaldarelli_luriechildrens.org#ext#@nuwildcat.onmicrosoft.com::cd79b54d-c14e-4199-a04a-39c6f592e710" providerId="AD" clId="Web-{BC047B72-8F18-01C2-FA60-A38A99380270}" dt="2023-10-31T04:15:17.275" v="715" actId="1076"/>
          <ac:spMkLst>
            <pc:docMk/>
            <pc:sldMk cId="595546358" sldId="590"/>
            <ac:spMk id="32" creationId="{F1AED984-C21E-AA63-E34E-DA61BCE8401F}"/>
          </ac:spMkLst>
        </pc:spChg>
      </pc:sldChg>
      <pc:sldChg chg="modSp modNotes">
        <pc:chgData name="Caldarelli, Leslie" userId="S::lcaldarelli_luriechildrens.org#ext#@nuwildcat.onmicrosoft.com::cd79b54d-c14e-4199-a04a-39c6f592e710" providerId="AD" clId="Web-{BC047B72-8F18-01C2-FA60-A38A99380270}" dt="2023-10-31T04:14:34.242" v="710" actId="20577"/>
        <pc:sldMkLst>
          <pc:docMk/>
          <pc:sldMk cId="629433230" sldId="591"/>
        </pc:sldMkLst>
        <pc:spChg chg="mod">
          <ac:chgData name="Caldarelli, Leslie" userId="S::lcaldarelli_luriechildrens.org#ext#@nuwildcat.onmicrosoft.com::cd79b54d-c14e-4199-a04a-39c6f592e710" providerId="AD" clId="Web-{BC047B72-8F18-01C2-FA60-A38A99380270}" dt="2023-10-31T04:13:05.614" v="665" actId="14100"/>
          <ac:spMkLst>
            <pc:docMk/>
            <pc:sldMk cId="629433230" sldId="591"/>
            <ac:spMk id="15" creationId="{00000000-0000-0000-0000-000000000000}"/>
          </ac:spMkLst>
        </pc:spChg>
        <pc:spChg chg="mod">
          <ac:chgData name="Caldarelli, Leslie" userId="S::lcaldarelli_luriechildrens.org#ext#@nuwildcat.onmicrosoft.com::cd79b54d-c14e-4199-a04a-39c6f592e710" providerId="AD" clId="Web-{BC047B72-8F18-01C2-FA60-A38A99380270}" dt="2023-10-31T04:13:14.911" v="672" actId="1076"/>
          <ac:spMkLst>
            <pc:docMk/>
            <pc:sldMk cId="629433230" sldId="591"/>
            <ac:spMk id="19" creationId="{00000000-0000-0000-0000-000000000000}"/>
          </ac:spMkLst>
        </pc:spChg>
        <pc:spChg chg="mod">
          <ac:chgData name="Caldarelli, Leslie" userId="S::lcaldarelli_luriechildrens.org#ext#@nuwildcat.onmicrosoft.com::cd79b54d-c14e-4199-a04a-39c6f592e710" providerId="AD" clId="Web-{BC047B72-8F18-01C2-FA60-A38A99380270}" dt="2023-10-31T04:14:34.242" v="710" actId="20577"/>
          <ac:spMkLst>
            <pc:docMk/>
            <pc:sldMk cId="629433230" sldId="591"/>
            <ac:spMk id="22" creationId="{00000000-0000-0000-0000-000000000000}"/>
          </ac:spMkLst>
        </pc:spChg>
        <pc:spChg chg="mod">
          <ac:chgData name="Caldarelli, Leslie" userId="S::lcaldarelli_luriechildrens.org#ext#@nuwildcat.onmicrosoft.com::cd79b54d-c14e-4199-a04a-39c6f592e710" providerId="AD" clId="Web-{BC047B72-8F18-01C2-FA60-A38A99380270}" dt="2023-10-31T04:13:14.411" v="666" actId="1076"/>
          <ac:spMkLst>
            <pc:docMk/>
            <pc:sldMk cId="629433230" sldId="591"/>
            <ac:spMk id="24" creationId="{82DED22A-2957-2107-97D2-7694FF88F0A5}"/>
          </ac:spMkLst>
        </pc:spChg>
        <pc:spChg chg="mod">
          <ac:chgData name="Caldarelli, Leslie" userId="S::lcaldarelli_luriechildrens.org#ext#@nuwildcat.onmicrosoft.com::cd79b54d-c14e-4199-a04a-39c6f592e710" providerId="AD" clId="Web-{BC047B72-8F18-01C2-FA60-A38A99380270}" dt="2023-10-31T04:13:14.848" v="671" actId="1076"/>
          <ac:spMkLst>
            <pc:docMk/>
            <pc:sldMk cId="629433230" sldId="591"/>
            <ac:spMk id="26" creationId="{7ADA2A22-B85F-E8A9-52B3-7FA1A111EB25}"/>
          </ac:spMkLst>
        </pc:spChg>
      </pc:sldChg>
      <pc:sldChg chg="modSp">
        <pc:chgData name="Caldarelli, Leslie" userId="S::lcaldarelli_luriechildrens.org#ext#@nuwildcat.onmicrosoft.com::cd79b54d-c14e-4199-a04a-39c6f592e710" providerId="AD" clId="Web-{BC047B72-8F18-01C2-FA60-A38A99380270}" dt="2023-10-31T02:11:46.662" v="41" actId="20577"/>
        <pc:sldMkLst>
          <pc:docMk/>
          <pc:sldMk cId="3726638559" sldId="616"/>
        </pc:sldMkLst>
        <pc:spChg chg="mod">
          <ac:chgData name="Caldarelli, Leslie" userId="S::lcaldarelli_luriechildrens.org#ext#@nuwildcat.onmicrosoft.com::cd79b54d-c14e-4199-a04a-39c6f592e710" providerId="AD" clId="Web-{BC047B72-8F18-01C2-FA60-A38A99380270}" dt="2023-10-31T02:11:46.662" v="41" actId="20577"/>
          <ac:spMkLst>
            <pc:docMk/>
            <pc:sldMk cId="3726638559" sldId="616"/>
            <ac:spMk id="2175"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0.690" v="659" actId="20577"/>
        <pc:sldMkLst>
          <pc:docMk/>
          <pc:sldMk cId="1210022179" sldId="617"/>
        </pc:sldMkLst>
        <pc:spChg chg="mod">
          <ac:chgData name="Caldarelli, Leslie" userId="S::lcaldarelli_luriechildrens.org#ext#@nuwildcat.onmicrosoft.com::cd79b54d-c14e-4199-a04a-39c6f592e710" providerId="AD" clId="Web-{BC047B72-8F18-01C2-FA60-A38A99380270}" dt="2023-10-31T04:12:30.690" v="659" actId="20577"/>
          <ac:spMkLst>
            <pc:docMk/>
            <pc:sldMk cId="1210022179" sldId="617"/>
            <ac:spMk id="2" creationId="{A6FAA70D-3B97-AAF4-599A-5BEF539C23CA}"/>
          </ac:spMkLst>
        </pc:spChg>
      </pc:sldChg>
      <pc:sldChg chg="modSp modNotes">
        <pc:chgData name="Caldarelli, Leslie" userId="S::lcaldarelli_luriechildrens.org#ext#@nuwildcat.onmicrosoft.com::cd79b54d-c14e-4199-a04a-39c6f592e710" providerId="AD" clId="Web-{BC047B72-8F18-01C2-FA60-A38A99380270}" dt="2023-10-31T04:07:53.118" v="628"/>
        <pc:sldMkLst>
          <pc:docMk/>
          <pc:sldMk cId="3850125703" sldId="622"/>
        </pc:sldMkLst>
        <pc:spChg chg="mod">
          <ac:chgData name="Caldarelli, Leslie" userId="S::lcaldarelli_luriechildrens.org#ext#@nuwildcat.onmicrosoft.com::cd79b54d-c14e-4199-a04a-39c6f592e710" providerId="AD" clId="Web-{BC047B72-8F18-01C2-FA60-A38A99380270}" dt="2023-10-31T04:04:52.267" v="604" actId="20577"/>
          <ac:spMkLst>
            <pc:docMk/>
            <pc:sldMk cId="3850125703" sldId="622"/>
            <ac:spMk id="2" creationId="{00000000-0000-0000-0000-000000000000}"/>
          </ac:spMkLst>
        </pc:spChg>
        <pc:spChg chg="mod">
          <ac:chgData name="Caldarelli, Leslie" userId="S::lcaldarelli_luriechildrens.org#ext#@nuwildcat.onmicrosoft.com::cd79b54d-c14e-4199-a04a-39c6f592e710" providerId="AD" clId="Web-{BC047B72-8F18-01C2-FA60-A38A99380270}" dt="2023-10-31T04:05:18.268" v="607" actId="20577"/>
          <ac:spMkLst>
            <pc:docMk/>
            <pc:sldMk cId="3850125703" sldId="622"/>
            <ac:spMk id="13" creationId="{00000000-0000-0000-0000-000000000000}"/>
          </ac:spMkLst>
        </pc:spChg>
        <pc:spChg chg="mod">
          <ac:chgData name="Caldarelli, Leslie" userId="S::lcaldarelli_luriechildrens.org#ext#@nuwildcat.onmicrosoft.com::cd79b54d-c14e-4199-a04a-39c6f592e710" providerId="AD" clId="Web-{BC047B72-8F18-01C2-FA60-A38A99380270}" dt="2023-10-31T04:06:01.551" v="613" actId="14100"/>
          <ac:spMkLst>
            <pc:docMk/>
            <pc:sldMk cId="3850125703" sldId="622"/>
            <ac:spMk id="28" creationId="{00000000-0000-0000-0000-000000000000}"/>
          </ac:spMkLst>
        </pc:spChg>
        <pc:spChg chg="mod">
          <ac:chgData name="Caldarelli, Leslie" userId="S::lcaldarelli_luriechildrens.org#ext#@nuwildcat.onmicrosoft.com::cd79b54d-c14e-4199-a04a-39c6f592e710" providerId="AD" clId="Web-{BC047B72-8F18-01C2-FA60-A38A99380270}" dt="2023-10-31T04:07:01.538" v="621" actId="14100"/>
          <ac:spMkLst>
            <pc:docMk/>
            <pc:sldMk cId="3850125703" sldId="622"/>
            <ac:spMk id="40" creationId="{00000000-0000-0000-0000-000000000000}"/>
          </ac:spMkLst>
        </pc:spChg>
        <pc:spChg chg="mod">
          <ac:chgData name="Caldarelli, Leslie" userId="S::lcaldarelli_luriechildrens.org#ext#@nuwildcat.onmicrosoft.com::cd79b54d-c14e-4199-a04a-39c6f592e710" providerId="AD" clId="Web-{BC047B72-8F18-01C2-FA60-A38A99380270}" dt="2023-10-31T04:07:36.039" v="627" actId="20577"/>
          <ac:spMkLst>
            <pc:docMk/>
            <pc:sldMk cId="3850125703" sldId="622"/>
            <ac:spMk id="49" creationId="{00000000-0000-0000-0000-000000000000}"/>
          </ac:spMkLst>
        </pc:spChg>
        <pc:spChg chg="mod">
          <ac:chgData name="Caldarelli, Leslie" userId="S::lcaldarelli_luriechildrens.org#ext#@nuwildcat.onmicrosoft.com::cd79b54d-c14e-4199-a04a-39c6f592e710" providerId="AD" clId="Web-{BC047B72-8F18-01C2-FA60-A38A99380270}" dt="2023-10-31T04:05:09.783" v="606" actId="20577"/>
          <ac:spMkLst>
            <pc:docMk/>
            <pc:sldMk cId="3850125703" sldId="622"/>
            <ac:spMk id="51" creationId="{00000000-0000-0000-0000-000000000000}"/>
          </ac:spMkLst>
        </pc:spChg>
      </pc:sldChg>
      <pc:sldChg chg="modSp">
        <pc:chgData name="Caldarelli, Leslie" userId="S::lcaldarelli_luriechildrens.org#ext#@nuwildcat.onmicrosoft.com::cd79b54d-c14e-4199-a04a-39c6f592e710" providerId="AD" clId="Web-{BC047B72-8F18-01C2-FA60-A38A99380270}" dt="2023-10-31T04:12:39.378" v="660" actId="20577"/>
        <pc:sldMkLst>
          <pc:docMk/>
          <pc:sldMk cId="2561278274" sldId="630"/>
        </pc:sldMkLst>
        <pc:spChg chg="mod">
          <ac:chgData name="Caldarelli, Leslie" userId="S::lcaldarelli_luriechildrens.org#ext#@nuwildcat.onmicrosoft.com::cd79b54d-c14e-4199-a04a-39c6f592e710" providerId="AD" clId="Web-{BC047B72-8F18-01C2-FA60-A38A99380270}" dt="2023-10-31T04:12:39.378" v="660" actId="20577"/>
          <ac:spMkLst>
            <pc:docMk/>
            <pc:sldMk cId="2561278274" sldId="630"/>
            <ac:spMk id="2" creationId="{A6FAA70D-3B97-AAF4-599A-5BEF539C23CA}"/>
          </ac:spMkLst>
        </pc:spChg>
      </pc:sldChg>
      <pc:sldChg chg="modSp">
        <pc:chgData name="Caldarelli, Leslie" userId="S::lcaldarelli_luriechildrens.org#ext#@nuwildcat.onmicrosoft.com::cd79b54d-c14e-4199-a04a-39c6f592e710" providerId="AD" clId="Web-{BC047B72-8F18-01C2-FA60-A38A99380270}" dt="2023-10-31T02:10:33.222" v="37" actId="1076"/>
        <pc:sldMkLst>
          <pc:docMk/>
          <pc:sldMk cId="1271905251" sldId="637"/>
        </pc:sldMkLst>
        <pc:spChg chg="mod">
          <ac:chgData name="Caldarelli, Leslie" userId="S::lcaldarelli_luriechildrens.org#ext#@nuwildcat.onmicrosoft.com::cd79b54d-c14e-4199-a04a-39c6f592e710" providerId="AD" clId="Web-{BC047B72-8F18-01C2-FA60-A38A99380270}" dt="2023-10-31T02:09:45.315" v="27" actId="20577"/>
          <ac:spMkLst>
            <pc:docMk/>
            <pc:sldMk cId="1271905251" sldId="637"/>
            <ac:spMk id="2" creationId="{AB9D5AD0-4A67-B828-DEC5-1146004A7755}"/>
          </ac:spMkLst>
        </pc:spChg>
        <pc:spChg chg="mod">
          <ac:chgData name="Caldarelli, Leslie" userId="S::lcaldarelli_luriechildrens.org#ext#@nuwildcat.onmicrosoft.com::cd79b54d-c14e-4199-a04a-39c6f592e710" providerId="AD" clId="Web-{BC047B72-8F18-01C2-FA60-A38A99380270}" dt="2023-10-31T02:10:33.222" v="37" actId="1076"/>
          <ac:spMkLst>
            <pc:docMk/>
            <pc:sldMk cId="1271905251" sldId="637"/>
            <ac:spMk id="3" creationId="{38BD8A99-C590-643F-CF50-2EEC68347C9C}"/>
          </ac:spMkLst>
        </pc:spChg>
      </pc:sldChg>
      <pc:sldChg chg="modSp">
        <pc:chgData name="Caldarelli, Leslie" userId="S::lcaldarelli_luriechildrens.org#ext#@nuwildcat.onmicrosoft.com::cd79b54d-c14e-4199-a04a-39c6f592e710" providerId="AD" clId="Web-{BC047B72-8F18-01C2-FA60-A38A99380270}" dt="2023-10-31T02:09:36.752" v="26" actId="14100"/>
        <pc:sldMkLst>
          <pc:docMk/>
          <pc:sldMk cId="2890705621" sldId="638"/>
        </pc:sldMkLst>
        <pc:spChg chg="mod">
          <ac:chgData name="Caldarelli, Leslie" userId="S::lcaldarelli_luriechildrens.org#ext#@nuwildcat.onmicrosoft.com::cd79b54d-c14e-4199-a04a-39c6f592e710" providerId="AD" clId="Web-{BC047B72-8F18-01C2-FA60-A38A99380270}" dt="2023-10-31T02:09:29.017" v="25" actId="14100"/>
          <ac:spMkLst>
            <pc:docMk/>
            <pc:sldMk cId="2890705621" sldId="638"/>
            <ac:spMk id="2" creationId="{C5D6A446-3EAF-1D26-0881-09F641FA1071}"/>
          </ac:spMkLst>
        </pc:spChg>
        <pc:spChg chg="mod">
          <ac:chgData name="Caldarelli, Leslie" userId="S::lcaldarelli_luriechildrens.org#ext#@nuwildcat.onmicrosoft.com::cd79b54d-c14e-4199-a04a-39c6f592e710" providerId="AD" clId="Web-{BC047B72-8F18-01C2-FA60-A38A99380270}" dt="2023-10-31T02:09:36.752" v="26" actId="14100"/>
          <ac:spMkLst>
            <pc:docMk/>
            <pc:sldMk cId="2890705621" sldId="638"/>
            <ac:spMk id="3" creationId="{11D1B208-3BF0-EBC8-BF8D-1C8378DBC20F}"/>
          </ac:spMkLst>
        </pc:spChg>
      </pc:sldChg>
      <pc:sldChg chg="modSp ord modNotes">
        <pc:chgData name="Caldarelli, Leslie" userId="S::lcaldarelli_luriechildrens.org#ext#@nuwildcat.onmicrosoft.com::cd79b54d-c14e-4199-a04a-39c6f592e710" providerId="AD" clId="Web-{BC047B72-8F18-01C2-FA60-A38A99380270}" dt="2023-10-31T04:04:35.079" v="599" actId="20577"/>
        <pc:sldMkLst>
          <pc:docMk/>
          <pc:sldMk cId="113281680" sldId="642"/>
        </pc:sldMkLst>
        <pc:spChg chg="mod">
          <ac:chgData name="Caldarelli, Leslie" userId="S::lcaldarelli_luriechildrens.org#ext#@nuwildcat.onmicrosoft.com::cd79b54d-c14e-4199-a04a-39c6f592e710" providerId="AD" clId="Web-{BC047B72-8F18-01C2-FA60-A38A99380270}" dt="2023-10-31T04:02:23.949" v="538" actId="20577"/>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BC047B72-8F18-01C2-FA60-A38A99380270}" dt="2023-10-31T04:04:35.079" v="599" actId="20577"/>
          <ac:spMkLst>
            <pc:docMk/>
            <pc:sldMk cId="113281680" sldId="642"/>
            <ac:spMk id="3" creationId="{9038DB7D-70BC-F3BC-5E8D-8CFC7F509BED}"/>
          </ac:spMkLst>
        </pc:spChg>
      </pc:sldChg>
      <pc:sldChg chg="modSp">
        <pc:chgData name="Caldarelli, Leslie" userId="S::lcaldarelli_luriechildrens.org#ext#@nuwildcat.onmicrosoft.com::cd79b54d-c14e-4199-a04a-39c6f592e710" providerId="AD" clId="Web-{BC047B72-8F18-01C2-FA60-A38A99380270}" dt="2023-10-31T04:33:13.252" v="935" actId="20577"/>
        <pc:sldMkLst>
          <pc:docMk/>
          <pc:sldMk cId="2443892533" sldId="643"/>
        </pc:sldMkLst>
        <pc:spChg chg="mod">
          <ac:chgData name="Caldarelli, Leslie" userId="S::lcaldarelli_luriechildrens.org#ext#@nuwildcat.onmicrosoft.com::cd79b54d-c14e-4199-a04a-39c6f592e710" providerId="AD" clId="Web-{BC047B72-8F18-01C2-FA60-A38A99380270}" dt="2023-10-31T04:33:03.955" v="913"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BC047B72-8F18-01C2-FA60-A38A99380270}" dt="2023-10-31T04:33:13.252" v="935" actId="20577"/>
          <ac:spMkLst>
            <pc:docMk/>
            <pc:sldMk cId="2443892533" sldId="643"/>
            <ac:spMk id="10" creationId="{F7DE78CF-32A6-61A0-EEC5-F837E089D3A4}"/>
          </ac:spMkLst>
        </pc:spChg>
      </pc:sldChg>
    </pc:docChg>
  </pc:docChgLst>
  <pc:docChgLst>
    <pc:chgData name="Eileen Fleming Suse" userId="S::efs3844@ads.northwestern.edu::725c94ef-d051-42d7-9d33-8572765d592b" providerId="AD" clId="Web-{AFE245F6-AF84-51BF-AB4C-88F7188B99E6}"/>
    <pc:docChg chg="modSld">
      <pc:chgData name="Eileen Fleming Suse" userId="S::efs3844@ads.northwestern.edu::725c94ef-d051-42d7-9d33-8572765d592b" providerId="AD" clId="Web-{AFE245F6-AF84-51BF-AB4C-88F7188B99E6}" dt="2023-10-31T20:15:08.574" v="74" actId="1076"/>
      <pc:docMkLst>
        <pc:docMk/>
      </pc:docMkLst>
      <pc:sldChg chg="modSp">
        <pc:chgData name="Eileen Fleming Suse" userId="S::efs3844@ads.northwestern.edu::725c94ef-d051-42d7-9d33-8572765d592b" providerId="AD" clId="Web-{AFE245F6-AF84-51BF-AB4C-88F7188B99E6}" dt="2023-10-31T20:14:55.604" v="73" actId="1076"/>
        <pc:sldMkLst>
          <pc:docMk/>
          <pc:sldMk cId="1536434647" sldId="564"/>
        </pc:sldMkLst>
        <pc:spChg chg="mod">
          <ac:chgData name="Eileen Fleming Suse" userId="S::efs3844@ads.northwestern.edu::725c94ef-d051-42d7-9d33-8572765d592b" providerId="AD" clId="Web-{AFE245F6-AF84-51BF-AB4C-88F7188B99E6}" dt="2023-10-31T20:14:55.604" v="73" actId="1076"/>
          <ac:spMkLst>
            <pc:docMk/>
            <pc:sldMk cId="1536434647" sldId="564"/>
            <ac:spMk id="51" creationId="{DADB789B-D1D8-A439-C1FC-0121F131E706}"/>
          </ac:spMkLst>
        </pc:spChg>
        <pc:spChg chg="mod">
          <ac:chgData name="Eileen Fleming Suse" userId="S::efs3844@ads.northwestern.edu::725c94ef-d051-42d7-9d33-8572765d592b" providerId="AD" clId="Web-{AFE245F6-AF84-51BF-AB4C-88F7188B99E6}" dt="2023-10-31T20:14:52.745" v="72" actId="1076"/>
          <ac:spMkLst>
            <pc:docMk/>
            <pc:sldMk cId="1536434647" sldId="564"/>
            <ac:spMk id="53" creationId="{7AA1F7FA-AA52-FED3-1784-BE66C8A7FBFC}"/>
          </ac:spMkLst>
        </pc:spChg>
      </pc:sldChg>
      <pc:sldChg chg="addSp modSp">
        <pc:chgData name="Eileen Fleming Suse" userId="S::efs3844@ads.northwestern.edu::725c94ef-d051-42d7-9d33-8572765d592b" providerId="AD" clId="Web-{AFE245F6-AF84-51BF-AB4C-88F7188B99E6}" dt="2023-10-31T20:14:16.650" v="71"/>
        <pc:sldMkLst>
          <pc:docMk/>
          <pc:sldMk cId="3030449316" sldId="579"/>
        </pc:sldMkLst>
        <pc:spChg chg="mod ord">
          <ac:chgData name="Eileen Fleming Suse" userId="S::efs3844@ads.northwestern.edu::725c94ef-d051-42d7-9d33-8572765d592b" providerId="AD" clId="Web-{AFE245F6-AF84-51BF-AB4C-88F7188B99E6}" dt="2023-10-31T20:14:16.650" v="71"/>
          <ac:spMkLst>
            <pc:docMk/>
            <pc:sldMk cId="3030449316" sldId="579"/>
            <ac:spMk id="10" creationId="{00000000-0000-0000-0000-000000000000}"/>
          </ac:spMkLst>
        </pc:spChg>
        <pc:spChg chg="mod">
          <ac:chgData name="Eileen Fleming Suse" userId="S::efs3844@ads.northwestern.edu::725c94ef-d051-42d7-9d33-8572765d592b" providerId="AD" clId="Web-{AFE245F6-AF84-51BF-AB4C-88F7188B99E6}" dt="2023-10-31T20:05:09.091" v="6" actId="1076"/>
          <ac:spMkLst>
            <pc:docMk/>
            <pc:sldMk cId="3030449316" sldId="579"/>
            <ac:spMk id="11" creationId="{00000000-0000-0000-0000-000000000000}"/>
          </ac:spMkLst>
        </pc:spChg>
        <pc:spChg chg="mod">
          <ac:chgData name="Eileen Fleming Suse" userId="S::efs3844@ads.northwestern.edu::725c94ef-d051-42d7-9d33-8572765d592b" providerId="AD" clId="Web-{AFE245F6-AF84-51BF-AB4C-88F7188B99E6}" dt="2023-10-31T20:05:59.358" v="20" actId="1076"/>
          <ac:spMkLst>
            <pc:docMk/>
            <pc:sldMk cId="3030449316" sldId="579"/>
            <ac:spMk id="12" creationId="{00000000-0000-0000-0000-000000000000}"/>
          </ac:spMkLst>
        </pc:spChg>
        <pc:spChg chg="mod">
          <ac:chgData name="Eileen Fleming Suse" userId="S::efs3844@ads.northwestern.edu::725c94ef-d051-42d7-9d33-8572765d592b" providerId="AD" clId="Web-{AFE245F6-AF84-51BF-AB4C-88F7188B99E6}" dt="2023-10-31T20:04:52.716" v="3" actId="1076"/>
          <ac:spMkLst>
            <pc:docMk/>
            <pc:sldMk cId="3030449316" sldId="579"/>
            <ac:spMk id="13" creationId="{00000000-0000-0000-0000-000000000000}"/>
          </ac:spMkLst>
        </pc:spChg>
        <pc:spChg chg="mod">
          <ac:chgData name="Eileen Fleming Suse" userId="S::efs3844@ads.northwestern.edu::725c94ef-d051-42d7-9d33-8572765d592b" providerId="AD" clId="Web-{AFE245F6-AF84-51BF-AB4C-88F7188B99E6}" dt="2023-10-31T20:06:52.046" v="34" actId="1076"/>
          <ac:spMkLst>
            <pc:docMk/>
            <pc:sldMk cId="3030449316" sldId="579"/>
            <ac:spMk id="32" creationId="{00000000-0000-0000-0000-000000000000}"/>
          </ac:spMkLst>
        </pc:spChg>
        <pc:spChg chg="mod">
          <ac:chgData name="Eileen Fleming Suse" userId="S::efs3844@ads.northwestern.edu::725c94ef-d051-42d7-9d33-8572765d592b" providerId="AD" clId="Web-{AFE245F6-AF84-51BF-AB4C-88F7188B99E6}" dt="2023-10-31T20:07:17.860" v="38" actId="1076"/>
          <ac:spMkLst>
            <pc:docMk/>
            <pc:sldMk cId="3030449316" sldId="579"/>
            <ac:spMk id="40" creationId="{00000000-0000-0000-0000-000000000000}"/>
          </ac:spMkLst>
        </pc:spChg>
        <pc:spChg chg="mod ord">
          <ac:chgData name="Eileen Fleming Suse" userId="S::efs3844@ads.northwestern.edu::725c94ef-d051-42d7-9d33-8572765d592b" providerId="AD" clId="Web-{AFE245F6-AF84-51BF-AB4C-88F7188B99E6}" dt="2023-10-31T20:11:55.147" v="65" actId="1076"/>
          <ac:spMkLst>
            <pc:docMk/>
            <pc:sldMk cId="3030449316" sldId="579"/>
            <ac:spMk id="41" creationId="{00000000-0000-0000-0000-000000000000}"/>
          </ac:spMkLst>
        </pc:spChg>
        <pc:spChg chg="mod">
          <ac:chgData name="Eileen Fleming Suse" userId="S::efs3844@ads.northwestern.edu::725c94ef-d051-42d7-9d33-8572765d592b" providerId="AD" clId="Web-{AFE245F6-AF84-51BF-AB4C-88F7188B99E6}" dt="2023-10-31T20:06:00.717" v="21" actId="1076"/>
          <ac:spMkLst>
            <pc:docMk/>
            <pc:sldMk cId="3030449316" sldId="579"/>
            <ac:spMk id="42" creationId="{00000000-0000-0000-0000-000000000000}"/>
          </ac:spMkLst>
        </pc:spChg>
        <pc:spChg chg="mod">
          <ac:chgData name="Eileen Fleming Suse" userId="S::efs3844@ads.northwestern.edu::725c94ef-d051-42d7-9d33-8572765d592b" providerId="AD" clId="Web-{AFE245F6-AF84-51BF-AB4C-88F7188B99E6}" dt="2023-10-31T20:06:22.327" v="27" actId="1076"/>
          <ac:spMkLst>
            <pc:docMk/>
            <pc:sldMk cId="3030449316" sldId="579"/>
            <ac:spMk id="43" creationId="{00000000-0000-0000-0000-000000000000}"/>
          </ac:spMkLst>
        </pc:spChg>
        <pc:spChg chg="mod">
          <ac:chgData name="Eileen Fleming Suse" userId="S::efs3844@ads.northwestern.edu::725c94ef-d051-42d7-9d33-8572765d592b" providerId="AD" clId="Web-{AFE245F6-AF84-51BF-AB4C-88F7188B99E6}" dt="2023-10-31T20:12:57.852" v="66"/>
          <ac:spMkLst>
            <pc:docMk/>
            <pc:sldMk cId="3030449316" sldId="579"/>
            <ac:spMk id="44" creationId="{00000000-0000-0000-0000-000000000000}"/>
          </ac:spMkLst>
        </pc:spChg>
        <pc:spChg chg="mod">
          <ac:chgData name="Eileen Fleming Suse" userId="S::efs3844@ads.northwestern.edu::725c94ef-d051-42d7-9d33-8572765d592b" providerId="AD" clId="Web-{AFE245F6-AF84-51BF-AB4C-88F7188B99E6}" dt="2023-10-31T20:06:34.155" v="29" actId="1076"/>
          <ac:spMkLst>
            <pc:docMk/>
            <pc:sldMk cId="3030449316" sldId="579"/>
            <ac:spMk id="46" creationId="{00000000-0000-0000-0000-000000000000}"/>
          </ac:spMkLst>
        </pc:spChg>
        <pc:spChg chg="mod">
          <ac:chgData name="Eileen Fleming Suse" userId="S::efs3844@ads.northwestern.edu::725c94ef-d051-42d7-9d33-8572765d592b" providerId="AD" clId="Web-{AFE245F6-AF84-51BF-AB4C-88F7188B99E6}" dt="2023-10-31T20:05:56.186" v="19" actId="1076"/>
          <ac:spMkLst>
            <pc:docMk/>
            <pc:sldMk cId="3030449316" sldId="579"/>
            <ac:spMk id="47" creationId="{00000000-0000-0000-0000-000000000000}"/>
          </ac:spMkLst>
        </pc:spChg>
        <pc:spChg chg="mod">
          <ac:chgData name="Eileen Fleming Suse" userId="S::efs3844@ads.northwestern.edu::725c94ef-d051-42d7-9d33-8572765d592b" providerId="AD" clId="Web-{AFE245F6-AF84-51BF-AB4C-88F7188B99E6}" dt="2023-10-31T20:11:15.740" v="55"/>
          <ac:spMkLst>
            <pc:docMk/>
            <pc:sldMk cId="3030449316" sldId="579"/>
            <ac:spMk id="50" creationId="{00000000-0000-0000-0000-000000000000}"/>
          </ac:spMkLst>
        </pc:spChg>
        <pc:spChg chg="mod">
          <ac:chgData name="Eileen Fleming Suse" userId="S::efs3844@ads.northwestern.edu::725c94ef-d051-42d7-9d33-8572765d592b" providerId="AD" clId="Web-{AFE245F6-AF84-51BF-AB4C-88F7188B99E6}" dt="2023-10-31T20:05:18.716" v="8" actId="1076"/>
          <ac:spMkLst>
            <pc:docMk/>
            <pc:sldMk cId="3030449316" sldId="579"/>
            <ac:spMk id="56" creationId="{AB0F7BDF-C613-8BB0-BFCB-8F26B40EC06E}"/>
          </ac:spMkLst>
        </pc:spChg>
        <pc:spChg chg="mod">
          <ac:chgData name="Eileen Fleming Suse" userId="S::efs3844@ads.northwestern.edu::725c94ef-d051-42d7-9d33-8572765d592b" providerId="AD" clId="Web-{AFE245F6-AF84-51BF-AB4C-88F7188B99E6}" dt="2023-10-31T20:14:05.056" v="69"/>
          <ac:spMkLst>
            <pc:docMk/>
            <pc:sldMk cId="3030449316" sldId="579"/>
            <ac:spMk id="57" creationId="{00246169-A4F3-5ED8-8A94-4557BB21D7AB}"/>
          </ac:spMkLst>
        </pc:spChg>
        <pc:spChg chg="mod">
          <ac:chgData name="Eileen Fleming Suse" userId="S::efs3844@ads.northwestern.edu::725c94ef-d051-42d7-9d33-8572765d592b" providerId="AD" clId="Web-{AFE245F6-AF84-51BF-AB4C-88F7188B99E6}" dt="2023-10-31T20:14:05.072" v="70"/>
          <ac:spMkLst>
            <pc:docMk/>
            <pc:sldMk cId="3030449316" sldId="579"/>
            <ac:spMk id="58" creationId="{5DE913D1-6F60-94B9-10FF-534A5E538AB8}"/>
          </ac:spMkLst>
        </pc:spChg>
        <pc:spChg chg="add mod">
          <ac:chgData name="Eileen Fleming Suse" userId="S::efs3844@ads.northwestern.edu::725c94ef-d051-42d7-9d33-8572765d592b" providerId="AD" clId="Web-{AFE245F6-AF84-51BF-AB4C-88F7188B99E6}" dt="2023-10-31T20:11:52.100" v="64" actId="1076"/>
          <ac:spMkLst>
            <pc:docMk/>
            <pc:sldMk cId="3030449316" sldId="579"/>
            <ac:spMk id="60" creationId="{A85E379C-4C1C-B6B4-A543-3DF6B25DACF8}"/>
          </ac:spMkLst>
        </pc:spChg>
        <pc:spChg chg="add mod">
          <ac:chgData name="Eileen Fleming Suse" userId="S::efs3844@ads.northwestern.edu::725c94ef-d051-42d7-9d33-8572765d592b" providerId="AD" clId="Web-{AFE245F6-AF84-51BF-AB4C-88F7188B99E6}" dt="2023-10-31T20:11:34.803" v="62" actId="1076"/>
          <ac:spMkLst>
            <pc:docMk/>
            <pc:sldMk cId="3030449316" sldId="579"/>
            <ac:spMk id="61" creationId="{24C1FDA7-3400-B267-F027-73B2E0675C53}"/>
          </ac:spMkLst>
        </pc:spChg>
        <pc:spChg chg="add mod">
          <ac:chgData name="Eileen Fleming Suse" userId="S::efs3844@ads.northwestern.edu::725c94ef-d051-42d7-9d33-8572765d592b" providerId="AD" clId="Web-{AFE245F6-AF84-51BF-AB4C-88F7188B99E6}" dt="2023-10-31T20:13:55.197" v="68" actId="1076"/>
          <ac:spMkLst>
            <pc:docMk/>
            <pc:sldMk cId="3030449316" sldId="579"/>
            <ac:spMk id="63" creationId="{76FF9F61-EDF0-6510-36D2-8E579D614428}"/>
          </ac:spMkLst>
        </pc:spChg>
        <pc:grpChg chg="mod">
          <ac:chgData name="Eileen Fleming Suse" userId="S::efs3844@ads.northwestern.edu::725c94ef-d051-42d7-9d33-8572765d592b" providerId="AD" clId="Web-{AFE245F6-AF84-51BF-AB4C-88F7188B99E6}" dt="2023-10-31T20:06:05.811" v="22" actId="14100"/>
          <ac:grpSpMkLst>
            <pc:docMk/>
            <pc:sldMk cId="3030449316" sldId="579"/>
            <ac:grpSpMk id="3" creationId="{00000000-0000-0000-0000-000000000000}"/>
          </ac:grpSpMkLst>
        </pc:grpChg>
        <pc:grpChg chg="mod">
          <ac:chgData name="Eileen Fleming Suse" userId="S::efs3844@ads.northwestern.edu::725c94ef-d051-42d7-9d33-8572765d592b" providerId="AD" clId="Web-{AFE245F6-AF84-51BF-AB4C-88F7188B99E6}" dt="2023-10-31T20:06:45.515" v="32" actId="14100"/>
          <ac:grpSpMkLst>
            <pc:docMk/>
            <pc:sldMk cId="3030449316" sldId="579"/>
            <ac:grpSpMk id="7" creationId="{00000000-0000-0000-0000-000000000000}"/>
          </ac:grpSpMkLst>
        </pc:grpChg>
        <pc:grpChg chg="mod">
          <ac:chgData name="Eileen Fleming Suse" userId="S::efs3844@ads.northwestern.edu::725c94ef-d051-42d7-9d33-8572765d592b" providerId="AD" clId="Web-{AFE245F6-AF84-51BF-AB4C-88F7188B99E6}" dt="2023-10-31T20:06:16.264" v="24" actId="14100"/>
          <ac:grpSpMkLst>
            <pc:docMk/>
            <pc:sldMk cId="3030449316" sldId="579"/>
            <ac:grpSpMk id="29" creationId="{00000000-0000-0000-0000-000000000000}"/>
          </ac:grpSpMkLst>
        </pc:grpChg>
        <pc:grpChg chg="add mod">
          <ac:chgData name="Eileen Fleming Suse" userId="S::efs3844@ads.northwestern.edu::725c94ef-d051-42d7-9d33-8572765d592b" providerId="AD" clId="Web-{AFE245F6-AF84-51BF-AB4C-88F7188B99E6}" dt="2023-10-31T20:07:27.407" v="39" actId="1076"/>
          <ac:grpSpMkLst>
            <pc:docMk/>
            <pc:sldMk cId="3030449316" sldId="579"/>
            <ac:grpSpMk id="52" creationId="{8A92A364-B996-B49C-BDA0-BAA1F5A15866}"/>
          </ac:grpSpMkLst>
        </pc:grpChg>
        <pc:cxnChg chg="mod">
          <ac:chgData name="Eileen Fleming Suse" userId="S::efs3844@ads.northwestern.edu::725c94ef-d051-42d7-9d33-8572765d592b" providerId="AD" clId="Web-{AFE245F6-AF84-51BF-AB4C-88F7188B99E6}" dt="2023-10-31T20:07:30.219" v="40" actId="14100"/>
          <ac:cxnSpMkLst>
            <pc:docMk/>
            <pc:sldMk cId="3030449316" sldId="579"/>
            <ac:cxnSpMk id="54" creationId="{52D6BD58-A1C0-4097-567A-36996C8B9E0B}"/>
          </ac:cxnSpMkLst>
        </pc:cxnChg>
        <pc:cxnChg chg="add mod">
          <ac:chgData name="Eileen Fleming Suse" userId="S::efs3844@ads.northwestern.edu::725c94ef-d051-42d7-9d33-8572765d592b" providerId="AD" clId="Web-{AFE245F6-AF84-51BF-AB4C-88F7188B99E6}" dt="2023-10-31T20:07:37.688" v="43" actId="14100"/>
          <ac:cxnSpMkLst>
            <pc:docMk/>
            <pc:sldMk cId="3030449316" sldId="579"/>
            <ac:cxnSpMk id="59" creationId="{6AB28071-935B-166B-0CEE-EC97EB10FF51}"/>
          </ac:cxnSpMkLst>
        </pc:cxnChg>
      </pc:sldChg>
      <pc:sldChg chg="modSp">
        <pc:chgData name="Eileen Fleming Suse" userId="S::efs3844@ads.northwestern.edu::725c94ef-d051-42d7-9d33-8572765d592b" providerId="AD" clId="Web-{AFE245F6-AF84-51BF-AB4C-88F7188B99E6}" dt="2023-10-31T20:15:08.574" v="74" actId="1076"/>
        <pc:sldMkLst>
          <pc:docMk/>
          <pc:sldMk cId="595546358" sldId="590"/>
        </pc:sldMkLst>
        <pc:spChg chg="mod">
          <ac:chgData name="Eileen Fleming Suse" userId="S::efs3844@ads.northwestern.edu::725c94ef-d051-42d7-9d33-8572765d592b" providerId="AD" clId="Web-{AFE245F6-AF84-51BF-AB4C-88F7188B99E6}" dt="2023-10-31T20:15:08.574" v="74" actId="1076"/>
          <ac:spMkLst>
            <pc:docMk/>
            <pc:sldMk cId="595546358" sldId="590"/>
            <ac:spMk id="30" creationId="{53721EF8-C35D-834E-9339-D65FFE7AFF9A}"/>
          </ac:spMkLst>
        </pc:spChg>
      </pc:sldChg>
    </pc:docChg>
  </pc:docChgLst>
  <pc:docChgLst>
    <pc:chgData name="Eileen Fleming Suse" userId="S::efs3844@ads.northwestern.edu::725c94ef-d051-42d7-9d33-8572765d592b" providerId="AD" clId="Web-{8024C570-7E9A-022B-CE90-C0FD861720C1}"/>
    <pc:docChg chg="addSld modSld">
      <pc:chgData name="Eileen Fleming Suse" userId="S::efs3844@ads.northwestern.edu::725c94ef-d051-42d7-9d33-8572765d592b" providerId="AD" clId="Web-{8024C570-7E9A-022B-CE90-C0FD861720C1}" dt="2023-10-23T23:03:50.878" v="517"/>
      <pc:docMkLst>
        <pc:docMk/>
      </pc:docMkLst>
      <pc:sldChg chg="modSp">
        <pc:chgData name="Eileen Fleming Suse" userId="S::efs3844@ads.northwestern.edu::725c94ef-d051-42d7-9d33-8572765d592b" providerId="AD" clId="Web-{8024C570-7E9A-022B-CE90-C0FD861720C1}" dt="2023-10-23T22:30:55.096" v="1" actId="20577"/>
        <pc:sldMkLst>
          <pc:docMk/>
          <pc:sldMk cId="3127921386" sldId="280"/>
        </pc:sldMkLst>
        <pc:spChg chg="mod">
          <ac:chgData name="Eileen Fleming Suse" userId="S::efs3844@ads.northwestern.edu::725c94ef-d051-42d7-9d33-8572765d592b" providerId="AD" clId="Web-{8024C570-7E9A-022B-CE90-C0FD861720C1}" dt="2023-10-23T22:30:55.096" v="1" actId="20577"/>
          <ac:spMkLst>
            <pc:docMk/>
            <pc:sldMk cId="3127921386" sldId="280"/>
            <ac:spMk id="4" creationId="{19922563-64D6-2A4E-B048-13AC25DB45AD}"/>
          </ac:spMkLst>
        </pc:spChg>
      </pc:sldChg>
      <pc:sldChg chg="modSp">
        <pc:chgData name="Eileen Fleming Suse" userId="S::efs3844@ads.northwestern.edu::725c94ef-d051-42d7-9d33-8572765d592b" providerId="AD" clId="Web-{8024C570-7E9A-022B-CE90-C0FD861720C1}" dt="2023-10-23T23:01:55.094" v="478" actId="20577"/>
        <pc:sldMkLst>
          <pc:docMk/>
          <pc:sldMk cId="4044691067" sldId="283"/>
        </pc:sldMkLst>
        <pc:spChg chg="mod">
          <ac:chgData name="Eileen Fleming Suse" userId="S::efs3844@ads.northwestern.edu::725c94ef-d051-42d7-9d33-8572765d592b" providerId="AD" clId="Web-{8024C570-7E9A-022B-CE90-C0FD861720C1}" dt="2023-10-23T23:01:55.094" v="478" actId="20577"/>
          <ac:spMkLst>
            <pc:docMk/>
            <pc:sldMk cId="4044691067" sldId="283"/>
            <ac:spMk id="16387" creationId="{00000000-0000-0000-0000-000000000000}"/>
          </ac:spMkLst>
        </pc:spChg>
      </pc:sldChg>
      <pc:sldChg chg="delCm">
        <pc:chgData name="Eileen Fleming Suse" userId="S::efs3844@ads.northwestern.edu::725c94ef-d051-42d7-9d33-8572765d592b" providerId="AD" clId="Web-{8024C570-7E9A-022B-CE90-C0FD861720C1}" dt="2023-10-23T22:43:45.317" v="154"/>
        <pc:sldMkLst>
          <pc:docMk/>
          <pc:sldMk cId="1231844700" sldId="554"/>
        </pc:sldMkLst>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8024C570-7E9A-022B-CE90-C0FD861720C1}" dt="2023-10-23T22:43:45.317" v="154"/>
              <pc2:cmMkLst xmlns:pc2="http://schemas.microsoft.com/office/powerpoint/2019/9/main/command">
                <pc:docMk/>
                <pc:sldMk cId="1231844700" sldId="554"/>
                <pc2:cmMk id="{30D146EB-BFA1-4AFA-93C4-FA1954A298F6}"/>
              </pc2:cmMkLst>
            </pc226:cmChg>
          </p:ext>
        </pc:extLst>
      </pc:sldChg>
      <pc:sldChg chg="addSp modSp">
        <pc:chgData name="Eileen Fleming Suse" userId="S::efs3844@ads.northwestern.edu::725c94ef-d051-42d7-9d33-8572765d592b" providerId="AD" clId="Web-{8024C570-7E9A-022B-CE90-C0FD861720C1}" dt="2023-10-23T22:43:34.286" v="153" actId="20577"/>
        <pc:sldMkLst>
          <pc:docMk/>
          <pc:sldMk cId="1522616096" sldId="555"/>
        </pc:sldMkLst>
        <pc:spChg chg="mod">
          <ac:chgData name="Eileen Fleming Suse" userId="S::efs3844@ads.northwestern.edu::725c94ef-d051-42d7-9d33-8572765d592b" providerId="AD" clId="Web-{8024C570-7E9A-022B-CE90-C0FD861720C1}" dt="2023-10-23T22:43:34.286" v="153" actId="20577"/>
          <ac:spMkLst>
            <pc:docMk/>
            <pc:sldMk cId="1522616096" sldId="555"/>
            <ac:spMk id="2" creationId="{F40AE700-1499-46B3-C70A-C723802CD680}"/>
          </ac:spMkLst>
        </pc:spChg>
        <pc:spChg chg="add mod">
          <ac:chgData name="Eileen Fleming Suse" userId="S::efs3844@ads.northwestern.edu::725c94ef-d051-42d7-9d33-8572765d592b" providerId="AD" clId="Web-{8024C570-7E9A-022B-CE90-C0FD861720C1}" dt="2023-10-23T22:40:06.844" v="76" actId="1076"/>
          <ac:spMkLst>
            <pc:docMk/>
            <pc:sldMk cId="1522616096" sldId="555"/>
            <ac:spMk id="3" creationId="{1C814D25-66C5-ACFC-3102-DB1C47E8E790}"/>
          </ac:spMkLst>
        </pc:spChg>
        <pc:spChg chg="add mod">
          <ac:chgData name="Eileen Fleming Suse" userId="S::efs3844@ads.northwestern.edu::725c94ef-d051-42d7-9d33-8572765d592b" providerId="AD" clId="Web-{8024C570-7E9A-022B-CE90-C0FD861720C1}" dt="2023-10-23T22:40:01.390" v="74" actId="1076"/>
          <ac:spMkLst>
            <pc:docMk/>
            <pc:sldMk cId="1522616096" sldId="555"/>
            <ac:spMk id="4" creationId="{3D49CA6C-78ED-3124-7EE3-BBDDC9988910}"/>
          </ac:spMkLst>
        </pc:spChg>
        <pc:spChg chg="add mod">
          <ac:chgData name="Eileen Fleming Suse" userId="S::efs3844@ads.northwestern.edu::725c94ef-d051-42d7-9d33-8572765d592b" providerId="AD" clId="Web-{8024C570-7E9A-022B-CE90-C0FD861720C1}" dt="2023-10-23T22:41:37.408" v="150" actId="14100"/>
          <ac:spMkLst>
            <pc:docMk/>
            <pc:sldMk cId="1522616096" sldId="555"/>
            <ac:spMk id="5" creationId="{19C1D751-08DD-BD76-1181-C434C9849C27}"/>
          </ac:spMkLst>
        </pc:spChg>
        <pc:spChg chg="mod">
          <ac:chgData name="Eileen Fleming Suse" userId="S::efs3844@ads.northwestern.edu::725c94ef-d051-42d7-9d33-8572765d592b" providerId="AD" clId="Web-{8024C570-7E9A-022B-CE90-C0FD861720C1}" dt="2023-10-23T22:39:53.359" v="70" actId="1076"/>
          <ac:spMkLst>
            <pc:docMk/>
            <pc:sldMk cId="1522616096" sldId="555"/>
            <ac:spMk id="6" creationId="{055E55DF-27B4-B9A8-84BB-DC4C1522901C}"/>
          </ac:spMkLst>
        </pc:spChg>
        <pc:spChg chg="mod">
          <ac:chgData name="Eileen Fleming Suse" userId="S::efs3844@ads.northwestern.edu::725c94ef-d051-42d7-9d33-8572765d592b" providerId="AD" clId="Web-{8024C570-7E9A-022B-CE90-C0FD861720C1}" dt="2023-10-23T22:39:53.296" v="64" actId="1076"/>
          <ac:spMkLst>
            <pc:docMk/>
            <pc:sldMk cId="1522616096" sldId="555"/>
            <ac:spMk id="7" creationId="{98AEAD99-3E06-8D3F-3F0C-CDC9176523B6}"/>
          </ac:spMkLst>
        </pc:spChg>
        <pc:spChg chg="add mod">
          <ac:chgData name="Eileen Fleming Suse" userId="S::efs3844@ads.northwestern.edu::725c94ef-d051-42d7-9d33-8572765d592b" providerId="AD" clId="Web-{8024C570-7E9A-022B-CE90-C0FD861720C1}" dt="2023-10-23T22:41:47.846" v="152" actId="14100"/>
          <ac:spMkLst>
            <pc:docMk/>
            <pc:sldMk cId="1522616096" sldId="555"/>
            <ac:spMk id="8" creationId="{6E760B7B-BD6C-24E2-33A9-EF4A040B086A}"/>
          </ac:spMkLst>
        </pc:spChg>
        <pc:spChg chg="mod">
          <ac:chgData name="Eileen Fleming Suse" userId="S::efs3844@ads.northwestern.edu::725c94ef-d051-42d7-9d33-8572765d592b" providerId="AD" clId="Web-{8024C570-7E9A-022B-CE90-C0FD861720C1}" dt="2023-10-23T22:39:53.312" v="65" actId="1076"/>
          <ac:spMkLst>
            <pc:docMk/>
            <pc:sldMk cId="1522616096" sldId="555"/>
            <ac:spMk id="9" creationId="{6DCB2364-A5B2-FB37-162C-58D7616BFAA3}"/>
          </ac:spMkLst>
        </pc:spChg>
        <pc:spChg chg="mod">
          <ac:chgData name="Eileen Fleming Suse" userId="S::efs3844@ads.northwestern.edu::725c94ef-d051-42d7-9d33-8572765d592b" providerId="AD" clId="Web-{8024C570-7E9A-022B-CE90-C0FD861720C1}" dt="2023-10-23T22:39:53.312" v="66" actId="1076"/>
          <ac:spMkLst>
            <pc:docMk/>
            <pc:sldMk cId="1522616096" sldId="555"/>
            <ac:spMk id="11" creationId="{33B71E7D-B0CF-32BF-4481-78C694C53404}"/>
          </ac:spMkLst>
        </pc:spChg>
        <pc:spChg chg="mod">
          <ac:chgData name="Eileen Fleming Suse" userId="S::efs3844@ads.northwestern.edu::725c94ef-d051-42d7-9d33-8572765d592b" providerId="AD" clId="Web-{8024C570-7E9A-022B-CE90-C0FD861720C1}" dt="2023-10-23T22:39:53.328" v="67" actId="1076"/>
          <ac:spMkLst>
            <pc:docMk/>
            <pc:sldMk cId="1522616096" sldId="555"/>
            <ac:spMk id="13" creationId="{50A7250D-02AB-B054-06E1-32E9F8FC55C0}"/>
          </ac:spMkLst>
        </pc:spChg>
        <pc:spChg chg="mod">
          <ac:chgData name="Eileen Fleming Suse" userId="S::efs3844@ads.northwestern.edu::725c94ef-d051-42d7-9d33-8572765d592b" providerId="AD" clId="Web-{8024C570-7E9A-022B-CE90-C0FD861720C1}" dt="2023-10-23T22:39:53.343" v="68" actId="1076"/>
          <ac:spMkLst>
            <pc:docMk/>
            <pc:sldMk cId="1522616096" sldId="555"/>
            <ac:spMk id="15" creationId="{63237A5A-8FBE-2248-7DAF-97A8D25F57D1}"/>
          </ac:spMkLst>
        </pc:spChg>
        <pc:spChg chg="mod">
          <ac:chgData name="Eileen Fleming Suse" userId="S::efs3844@ads.northwestern.edu::725c94ef-d051-42d7-9d33-8572765d592b" providerId="AD" clId="Web-{8024C570-7E9A-022B-CE90-C0FD861720C1}" dt="2023-10-23T22:39:53.343" v="69" actId="1076"/>
          <ac:spMkLst>
            <pc:docMk/>
            <pc:sldMk cId="1522616096" sldId="555"/>
            <ac:spMk id="17" creationId="{9694707D-377A-FF99-AFDB-26A575A618C3}"/>
          </ac:spMkLst>
        </pc:spChg>
      </pc:sldChg>
      <pc:sldChg chg="delSp modSp add replId">
        <pc:chgData name="Eileen Fleming Suse" userId="S::efs3844@ads.northwestern.edu::725c94ef-d051-42d7-9d33-8572765d592b" providerId="AD" clId="Web-{8024C570-7E9A-022B-CE90-C0FD861720C1}" dt="2023-10-23T22:53:11.409" v="475" actId="1076"/>
        <pc:sldMkLst>
          <pc:docMk/>
          <pc:sldMk cId="773696652" sldId="558"/>
        </pc:sldMkLst>
        <pc:spChg chg="mod">
          <ac:chgData name="Eileen Fleming Suse" userId="S::efs3844@ads.northwestern.edu::725c94ef-d051-42d7-9d33-8572765d592b" providerId="AD" clId="Web-{8024C570-7E9A-022B-CE90-C0FD861720C1}" dt="2023-10-23T22:53:09.534" v="474" actId="1076"/>
          <ac:spMkLst>
            <pc:docMk/>
            <pc:sldMk cId="773696652" sldId="558"/>
            <ac:spMk id="3" creationId="{1C814D25-66C5-ACFC-3102-DB1C47E8E790}"/>
          </ac:spMkLst>
        </pc:spChg>
        <pc:spChg chg="del">
          <ac:chgData name="Eileen Fleming Suse" userId="S::efs3844@ads.northwestern.edu::725c94ef-d051-42d7-9d33-8572765d592b" providerId="AD" clId="Web-{8024C570-7E9A-022B-CE90-C0FD861720C1}" dt="2023-10-23T22:44:50.569" v="171"/>
          <ac:spMkLst>
            <pc:docMk/>
            <pc:sldMk cId="773696652" sldId="558"/>
            <ac:spMk id="4" creationId="{3D49CA6C-78ED-3124-7EE3-BBDDC9988910}"/>
          </ac:spMkLst>
        </pc:spChg>
        <pc:spChg chg="mod">
          <ac:chgData name="Eileen Fleming Suse" userId="S::efs3844@ads.northwestern.edu::725c94ef-d051-42d7-9d33-8572765d592b" providerId="AD" clId="Web-{8024C570-7E9A-022B-CE90-C0FD861720C1}" dt="2023-10-23T22:53:11.409" v="475" actId="1076"/>
          <ac:spMkLst>
            <pc:docMk/>
            <pc:sldMk cId="773696652" sldId="558"/>
            <ac:spMk id="5" creationId="{19C1D751-08DD-BD76-1181-C434C9849C27}"/>
          </ac:spMkLst>
        </pc:spChg>
        <pc:spChg chg="mod">
          <ac:chgData name="Eileen Fleming Suse" userId="S::efs3844@ads.northwestern.edu::725c94ef-d051-42d7-9d33-8572765d592b" providerId="AD" clId="Web-{8024C570-7E9A-022B-CE90-C0FD861720C1}" dt="2023-10-23T22:46:54.150" v="251" actId="1076"/>
          <ac:spMkLst>
            <pc:docMk/>
            <pc:sldMk cId="773696652" sldId="558"/>
            <ac:spMk id="6" creationId="{055E55DF-27B4-B9A8-84BB-DC4C1522901C}"/>
          </ac:spMkLst>
        </pc:spChg>
        <pc:spChg chg="mod">
          <ac:chgData name="Eileen Fleming Suse" userId="S::efs3844@ads.northwestern.edu::725c94ef-d051-42d7-9d33-8572765d592b" providerId="AD" clId="Web-{8024C570-7E9A-022B-CE90-C0FD861720C1}" dt="2023-10-23T22:46:54.119" v="245" actId="1076"/>
          <ac:spMkLst>
            <pc:docMk/>
            <pc:sldMk cId="773696652" sldId="558"/>
            <ac:spMk id="7" creationId="{98AEAD99-3E06-8D3F-3F0C-CDC9176523B6}"/>
          </ac:spMkLst>
        </pc:spChg>
        <pc:spChg chg="del">
          <ac:chgData name="Eileen Fleming Suse" userId="S::efs3844@ads.northwestern.edu::725c94ef-d051-42d7-9d33-8572765d592b" providerId="AD" clId="Web-{8024C570-7E9A-022B-CE90-C0FD861720C1}" dt="2023-10-23T22:44:48.491" v="170"/>
          <ac:spMkLst>
            <pc:docMk/>
            <pc:sldMk cId="773696652" sldId="558"/>
            <ac:spMk id="8" creationId="{6E760B7B-BD6C-24E2-33A9-EF4A040B086A}"/>
          </ac:spMkLst>
        </pc:spChg>
        <pc:spChg chg="mod">
          <ac:chgData name="Eileen Fleming Suse" userId="S::efs3844@ads.northwestern.edu::725c94ef-d051-42d7-9d33-8572765d592b" providerId="AD" clId="Web-{8024C570-7E9A-022B-CE90-C0FD861720C1}" dt="2023-10-23T22:46:54.119" v="246" actId="1076"/>
          <ac:spMkLst>
            <pc:docMk/>
            <pc:sldMk cId="773696652" sldId="558"/>
            <ac:spMk id="9" creationId="{6DCB2364-A5B2-FB37-162C-58D7616BFAA3}"/>
          </ac:spMkLst>
        </pc:spChg>
        <pc:spChg chg="mod">
          <ac:chgData name="Eileen Fleming Suse" userId="S::efs3844@ads.northwestern.edu::725c94ef-d051-42d7-9d33-8572765d592b" providerId="AD" clId="Web-{8024C570-7E9A-022B-CE90-C0FD861720C1}" dt="2023-10-23T22:46:54.119" v="247" actId="1076"/>
          <ac:spMkLst>
            <pc:docMk/>
            <pc:sldMk cId="773696652" sldId="558"/>
            <ac:spMk id="11" creationId="{33B71E7D-B0CF-32BF-4481-78C694C53404}"/>
          </ac:spMkLst>
        </pc:spChg>
        <pc:spChg chg="mod">
          <ac:chgData name="Eileen Fleming Suse" userId="S::efs3844@ads.northwestern.edu::725c94ef-d051-42d7-9d33-8572765d592b" providerId="AD" clId="Web-{8024C570-7E9A-022B-CE90-C0FD861720C1}" dt="2023-10-23T22:46:54.134" v="248" actId="1076"/>
          <ac:spMkLst>
            <pc:docMk/>
            <pc:sldMk cId="773696652" sldId="558"/>
            <ac:spMk id="13" creationId="{50A7250D-02AB-B054-06E1-32E9F8FC55C0}"/>
          </ac:spMkLst>
        </pc:spChg>
        <pc:spChg chg="mod">
          <ac:chgData name="Eileen Fleming Suse" userId="S::efs3844@ads.northwestern.edu::725c94ef-d051-42d7-9d33-8572765d592b" providerId="AD" clId="Web-{8024C570-7E9A-022B-CE90-C0FD861720C1}" dt="2023-10-23T22:46:54.134" v="249" actId="1076"/>
          <ac:spMkLst>
            <pc:docMk/>
            <pc:sldMk cId="773696652" sldId="558"/>
            <ac:spMk id="15" creationId="{63237A5A-8FBE-2248-7DAF-97A8D25F57D1}"/>
          </ac:spMkLst>
        </pc:spChg>
        <pc:spChg chg="mod">
          <ac:chgData name="Eileen Fleming Suse" userId="S::efs3844@ads.northwestern.edu::725c94ef-d051-42d7-9d33-8572765d592b" providerId="AD" clId="Web-{8024C570-7E9A-022B-CE90-C0FD861720C1}" dt="2023-10-23T22:46:54.150" v="250" actId="1076"/>
          <ac:spMkLst>
            <pc:docMk/>
            <pc:sldMk cId="773696652" sldId="558"/>
            <ac:spMk id="17" creationId="{9694707D-377A-FF99-AFDB-26A575A618C3}"/>
          </ac:spMkLst>
        </pc:spChg>
      </pc:sldChg>
      <pc:sldChg chg="addSp delSp modSp new mod setBg">
        <pc:chgData name="Eileen Fleming Suse" userId="S::efs3844@ads.northwestern.edu::725c94ef-d051-42d7-9d33-8572765d592b" providerId="AD" clId="Web-{8024C570-7E9A-022B-CE90-C0FD861720C1}" dt="2023-10-23T23:03:50.878" v="517"/>
        <pc:sldMkLst>
          <pc:docMk/>
          <pc:sldMk cId="202185053" sldId="559"/>
        </pc:sldMkLst>
        <pc:spChg chg="mod">
          <ac:chgData name="Eileen Fleming Suse" userId="S::efs3844@ads.northwestern.edu::725c94ef-d051-42d7-9d33-8572765d592b" providerId="AD" clId="Web-{8024C570-7E9A-022B-CE90-C0FD861720C1}" dt="2023-10-23T23:03:50.878" v="517"/>
          <ac:spMkLst>
            <pc:docMk/>
            <pc:sldMk cId="202185053" sldId="559"/>
            <ac:spMk id="2" creationId="{4DA6F726-268B-D1E3-168E-B1D635F770C9}"/>
          </ac:spMkLst>
        </pc:spChg>
        <pc:spChg chg="del mod">
          <ac:chgData name="Eileen Fleming Suse" userId="S::efs3844@ads.northwestern.edu::725c94ef-d051-42d7-9d33-8572765d592b" providerId="AD" clId="Web-{8024C570-7E9A-022B-CE90-C0FD861720C1}" dt="2023-10-23T23:03:50.878" v="517"/>
          <ac:spMkLst>
            <pc:docMk/>
            <pc:sldMk cId="202185053" sldId="559"/>
            <ac:spMk id="3" creationId="{97C35C3F-414A-0BEC-2B1F-CEADE5601055}"/>
          </ac:spMkLst>
        </pc:spChg>
        <pc:spChg chg="add">
          <ac:chgData name="Eileen Fleming Suse" userId="S::efs3844@ads.northwestern.edu::725c94ef-d051-42d7-9d33-8572765d592b" providerId="AD" clId="Web-{8024C570-7E9A-022B-CE90-C0FD861720C1}" dt="2023-10-23T23:03:50.878" v="517"/>
          <ac:spMkLst>
            <pc:docMk/>
            <pc:sldMk cId="202185053" sldId="559"/>
            <ac:spMk id="9" creationId="{35DB3719-6FDC-4E5D-891D-FF40B7300F64}"/>
          </ac:spMkLst>
        </pc:spChg>
        <pc:spChg chg="add">
          <ac:chgData name="Eileen Fleming Suse" userId="S::efs3844@ads.northwestern.edu::725c94ef-d051-42d7-9d33-8572765d592b" providerId="AD" clId="Web-{8024C570-7E9A-022B-CE90-C0FD861720C1}" dt="2023-10-23T23:03:50.878" v="517"/>
          <ac:spMkLst>
            <pc:docMk/>
            <pc:sldMk cId="202185053" sldId="559"/>
            <ac:spMk id="11" creationId="{E0CBAC23-2E3F-4A90-BA59-F8299F6A5439}"/>
          </ac:spMkLst>
        </pc:spChg>
        <pc:graphicFrameChg chg="add">
          <ac:chgData name="Eileen Fleming Suse" userId="S::efs3844@ads.northwestern.edu::725c94ef-d051-42d7-9d33-8572765d592b" providerId="AD" clId="Web-{8024C570-7E9A-022B-CE90-C0FD861720C1}" dt="2023-10-23T23:03:50.878" v="517"/>
          <ac:graphicFrameMkLst>
            <pc:docMk/>
            <pc:sldMk cId="202185053" sldId="559"/>
            <ac:graphicFrameMk id="5" creationId="{6E278A11-E295-101C-28FB-746B039E4D18}"/>
          </ac:graphicFrameMkLst>
        </pc:graphicFrameChg>
      </pc:sldChg>
    </pc:docChg>
  </pc:docChgLst>
  <pc:docChgLst>
    <pc:chgData name="Eileen Fleming Suse" userId="S::efs3844@ads.northwestern.edu::725c94ef-d051-42d7-9d33-8572765d592b" providerId="AD" clId="Web-{85CD7F39-8F26-7081-E17F-9CFE5E103D63}"/>
    <pc:docChg chg="addSld delSld modSld sldOrd">
      <pc:chgData name="Eileen Fleming Suse" userId="S::efs3844@ads.northwestern.edu::725c94ef-d051-42d7-9d33-8572765d592b" providerId="AD" clId="Web-{85CD7F39-8F26-7081-E17F-9CFE5E103D63}" dt="2023-10-24T19:03:39.508" v="173" actId="20577"/>
      <pc:docMkLst>
        <pc:docMk/>
      </pc:docMkLst>
      <pc:sldChg chg="del">
        <pc:chgData name="Eileen Fleming Suse" userId="S::efs3844@ads.northwestern.edu::725c94ef-d051-42d7-9d33-8572765d592b" providerId="AD" clId="Web-{85CD7F39-8F26-7081-E17F-9CFE5E103D63}" dt="2023-10-24T18:21:45.536" v="0"/>
        <pc:sldMkLst>
          <pc:docMk/>
          <pc:sldMk cId="2338849283" sldId="290"/>
        </pc:sldMkLst>
      </pc:sldChg>
      <pc:sldChg chg="ord">
        <pc:chgData name="Eileen Fleming Suse" userId="S::efs3844@ads.northwestern.edu::725c94ef-d051-42d7-9d33-8572765d592b" providerId="AD" clId="Web-{85CD7F39-8F26-7081-E17F-9CFE5E103D63}" dt="2023-10-24T18:27:42.969" v="88"/>
        <pc:sldMkLst>
          <pc:docMk/>
          <pc:sldMk cId="2351229145" sldId="544"/>
        </pc:sldMkLst>
      </pc:sldChg>
      <pc:sldChg chg="modSp">
        <pc:chgData name="Eileen Fleming Suse" userId="S::efs3844@ads.northwestern.edu::725c94ef-d051-42d7-9d33-8572765d592b" providerId="AD" clId="Web-{85CD7F39-8F26-7081-E17F-9CFE5E103D63}" dt="2023-10-24T18:41:13.402" v="102" actId="20577"/>
        <pc:sldMkLst>
          <pc:docMk/>
          <pc:sldMk cId="3745706804" sldId="548"/>
        </pc:sldMkLst>
        <pc:spChg chg="mod">
          <ac:chgData name="Eileen Fleming Suse" userId="S::efs3844@ads.northwestern.edu::725c94ef-d051-42d7-9d33-8572765d592b" providerId="AD" clId="Web-{85CD7F39-8F26-7081-E17F-9CFE5E103D63}" dt="2023-10-24T18:41:13.402" v="102" actId="20577"/>
          <ac:spMkLst>
            <pc:docMk/>
            <pc:sldMk cId="3745706804" sldId="548"/>
            <ac:spMk id="3" creationId="{C0454086-94BF-0693-766D-F1659194519A}"/>
          </ac:spMkLst>
        </pc:spChg>
      </pc:sldChg>
      <pc:sldChg chg="modSp">
        <pc:chgData name="Eileen Fleming Suse" userId="S::efs3844@ads.northwestern.edu::725c94ef-d051-42d7-9d33-8572765d592b" providerId="AD" clId="Web-{85CD7F39-8F26-7081-E17F-9CFE5E103D63}" dt="2023-10-24T18:49:16.746" v="155" actId="20577"/>
        <pc:sldMkLst>
          <pc:docMk/>
          <pc:sldMk cId="3962270618" sldId="549"/>
        </pc:sldMkLst>
        <pc:spChg chg="mod">
          <ac:chgData name="Eileen Fleming Suse" userId="S::efs3844@ads.northwestern.edu::725c94ef-d051-42d7-9d33-8572765d592b" providerId="AD" clId="Web-{85CD7F39-8F26-7081-E17F-9CFE5E103D63}" dt="2023-10-24T18:49:16.746" v="155" actId="20577"/>
          <ac:spMkLst>
            <pc:docMk/>
            <pc:sldMk cId="3962270618" sldId="549"/>
            <ac:spMk id="2" creationId="{D2A51686-B2DC-CDBE-63AE-C97B6B0DBD66}"/>
          </ac:spMkLst>
        </pc:spChg>
      </pc:sldChg>
      <pc:sldChg chg="modNotes">
        <pc:chgData name="Eileen Fleming Suse" userId="S::efs3844@ads.northwestern.edu::725c94ef-d051-42d7-9d33-8572765d592b" providerId="AD" clId="Web-{85CD7F39-8F26-7081-E17F-9CFE5E103D63}" dt="2023-10-24T18:49:47.856" v="156"/>
        <pc:sldMkLst>
          <pc:docMk/>
          <pc:sldMk cId="2562283095" sldId="551"/>
        </pc:sldMkLst>
      </pc:sldChg>
      <pc:sldChg chg="modSp">
        <pc:chgData name="Eileen Fleming Suse" userId="S::efs3844@ads.northwestern.edu::725c94ef-d051-42d7-9d33-8572765d592b" providerId="AD" clId="Web-{85CD7F39-8F26-7081-E17F-9CFE5E103D63}" dt="2023-10-24T18:22:25.365" v="2" actId="20577"/>
        <pc:sldMkLst>
          <pc:docMk/>
          <pc:sldMk cId="1522616096" sldId="555"/>
        </pc:sldMkLst>
        <pc:spChg chg="mod">
          <ac:chgData name="Eileen Fleming Suse" userId="S::efs3844@ads.northwestern.edu::725c94ef-d051-42d7-9d33-8572765d592b" providerId="AD" clId="Web-{85CD7F39-8F26-7081-E17F-9CFE5E103D63}" dt="2023-10-24T18:22:25.365" v="2" actId="20577"/>
          <ac:spMkLst>
            <pc:docMk/>
            <pc:sldMk cId="1522616096" sldId="555"/>
            <ac:spMk id="13" creationId="{50A7250D-02AB-B054-06E1-32E9F8FC55C0}"/>
          </ac:spMkLst>
        </pc:spChg>
      </pc:sldChg>
      <pc:sldChg chg="modSp ord">
        <pc:chgData name="Eileen Fleming Suse" userId="S::efs3844@ads.northwestern.edu::725c94ef-d051-42d7-9d33-8572765d592b" providerId="AD" clId="Web-{85CD7F39-8F26-7081-E17F-9CFE5E103D63}" dt="2023-10-24T18:23:33.867" v="6" actId="20577"/>
        <pc:sldMkLst>
          <pc:docMk/>
          <pc:sldMk cId="773696652" sldId="558"/>
        </pc:sldMkLst>
        <pc:spChg chg="mod">
          <ac:chgData name="Eileen Fleming Suse" userId="S::efs3844@ads.northwestern.edu::725c94ef-d051-42d7-9d33-8572765d592b" providerId="AD" clId="Web-{85CD7F39-8F26-7081-E17F-9CFE5E103D63}" dt="2023-10-24T18:23:33.867" v="6" actId="20577"/>
          <ac:spMkLst>
            <pc:docMk/>
            <pc:sldMk cId="773696652" sldId="558"/>
            <ac:spMk id="13" creationId="{50A7250D-02AB-B054-06E1-32E9F8FC55C0}"/>
          </ac:spMkLst>
        </pc:spChg>
      </pc:sldChg>
      <pc:sldChg chg="modSp">
        <pc:chgData name="Eileen Fleming Suse" userId="S::efs3844@ads.northwestern.edu::725c94ef-d051-42d7-9d33-8572765d592b" providerId="AD" clId="Web-{85CD7F39-8F26-7081-E17F-9CFE5E103D63}" dt="2023-10-24T19:03:39.508" v="173" actId="20577"/>
        <pc:sldMkLst>
          <pc:docMk/>
          <pc:sldMk cId="3067427377" sldId="560"/>
        </pc:sldMkLst>
        <pc:spChg chg="mod">
          <ac:chgData name="Eileen Fleming Suse" userId="S::efs3844@ads.northwestern.edu::725c94ef-d051-42d7-9d33-8572765d592b" providerId="AD" clId="Web-{85CD7F39-8F26-7081-E17F-9CFE5E103D63}" dt="2023-10-24T19:03:39.508" v="173" actId="20577"/>
          <ac:spMkLst>
            <pc:docMk/>
            <pc:sldMk cId="3067427377" sldId="560"/>
            <ac:spMk id="2" creationId="{85302686-DF06-3304-66CB-1E21F4D086DC}"/>
          </ac:spMkLst>
        </pc:spChg>
      </pc:sldChg>
      <pc:sldChg chg="ord">
        <pc:chgData name="Eileen Fleming Suse" userId="S::efs3844@ads.northwestern.edu::725c94ef-d051-42d7-9d33-8572765d592b" providerId="AD" clId="Web-{85CD7F39-8F26-7081-E17F-9CFE5E103D63}" dt="2023-10-24T19:02:03.568" v="160"/>
        <pc:sldMkLst>
          <pc:docMk/>
          <pc:sldMk cId="1536434647" sldId="564"/>
        </pc:sldMkLst>
      </pc:sldChg>
      <pc:sldChg chg="del">
        <pc:chgData name="Eileen Fleming Suse" userId="S::efs3844@ads.northwestern.edu::725c94ef-d051-42d7-9d33-8572765d592b" providerId="AD" clId="Web-{85CD7F39-8F26-7081-E17F-9CFE5E103D63}" dt="2023-10-24T18:31:12.851" v="91"/>
        <pc:sldMkLst>
          <pc:docMk/>
          <pc:sldMk cId="1415571005" sldId="572"/>
        </pc:sldMkLst>
      </pc:sldChg>
      <pc:sldChg chg="del">
        <pc:chgData name="Eileen Fleming Suse" userId="S::efs3844@ads.northwestern.edu::725c94ef-d051-42d7-9d33-8572765d592b" providerId="AD" clId="Web-{85CD7F39-8F26-7081-E17F-9CFE5E103D63}" dt="2023-10-24T18:31:16.023" v="92"/>
        <pc:sldMkLst>
          <pc:docMk/>
          <pc:sldMk cId="2901982042" sldId="573"/>
        </pc:sldMkLst>
      </pc:sldChg>
      <pc:sldChg chg="modNotes">
        <pc:chgData name="Eileen Fleming Suse" userId="S::efs3844@ads.northwestern.edu::725c94ef-d051-42d7-9d33-8572765d592b" providerId="AD" clId="Web-{85CD7F39-8F26-7081-E17F-9CFE5E103D63}" dt="2023-10-24T18:28:21.080" v="90"/>
        <pc:sldMkLst>
          <pc:docMk/>
          <pc:sldMk cId="1407824229" sldId="576"/>
        </pc:sldMkLst>
      </pc:sldChg>
      <pc:sldChg chg="modSp new mod modClrScheme chgLayout modNotes">
        <pc:chgData name="Eileen Fleming Suse" userId="S::efs3844@ads.northwestern.edu::725c94ef-d051-42d7-9d33-8572765d592b" providerId="AD" clId="Web-{85CD7F39-8F26-7081-E17F-9CFE5E103D63}" dt="2023-10-24T19:00:23.346" v="159"/>
        <pc:sldMkLst>
          <pc:docMk/>
          <pc:sldMk cId="4290994232" sldId="578"/>
        </pc:sldMkLst>
        <pc:spChg chg="mod ord">
          <ac:chgData name="Eileen Fleming Suse" userId="S::efs3844@ads.northwestern.edu::725c94ef-d051-42d7-9d33-8572765d592b" providerId="AD" clId="Web-{85CD7F39-8F26-7081-E17F-9CFE5E103D63}" dt="2023-10-24T18:26:58.624" v="67"/>
          <ac:spMkLst>
            <pc:docMk/>
            <pc:sldMk cId="4290994232" sldId="578"/>
            <ac:spMk id="2" creationId="{3089D313-1FE9-8E3B-E1C1-8D63F9537E7C}"/>
          </ac:spMkLst>
        </pc:spChg>
        <pc:spChg chg="mod ord">
          <ac:chgData name="Eileen Fleming Suse" userId="S::efs3844@ads.northwestern.edu::725c94ef-d051-42d7-9d33-8572765d592b" providerId="AD" clId="Web-{85CD7F39-8F26-7081-E17F-9CFE5E103D63}" dt="2023-10-24T18:26:58.624" v="67"/>
          <ac:spMkLst>
            <pc:docMk/>
            <pc:sldMk cId="4290994232" sldId="578"/>
            <ac:spMk id="3" creationId="{CFAA9E52-251F-FEC4-DD99-459D2CFCC90C}"/>
          </ac:spMkLst>
        </pc:spChg>
      </pc:sldChg>
    </pc:docChg>
  </pc:docChgLst>
  <pc:docChgLst>
    <pc:chgData name="Alana Rivera" userId="S::arg3669@ads.northwestern.edu::fc8b707a-b7e9-4f2a-8d71-2d76819b7881" providerId="AD" clId="Web-{21C21437-9FB2-E09B-996A-2FA9CEE027D3}"/>
    <pc:docChg chg="modSld">
      <pc:chgData name="Alana Rivera" userId="S::arg3669@ads.northwestern.edu::fc8b707a-b7e9-4f2a-8d71-2d76819b7881" providerId="AD" clId="Web-{21C21437-9FB2-E09B-996A-2FA9CEE027D3}" dt="2023-12-07T14:26:24.357" v="154"/>
      <pc:docMkLst>
        <pc:docMk/>
      </pc:docMkLst>
      <pc:sldChg chg="addSp modSp">
        <pc:chgData name="Alana Rivera" userId="S::arg3669@ads.northwestern.edu::fc8b707a-b7e9-4f2a-8d71-2d76819b7881" providerId="AD" clId="Web-{21C21437-9FB2-E09B-996A-2FA9CEE027D3}" dt="2023-12-07T14:17:33.624" v="37" actId="20577"/>
        <pc:sldMkLst>
          <pc:docMk/>
          <pc:sldMk cId="3968927565" sldId="752"/>
        </pc:sldMkLst>
        <pc:spChg chg="mod">
          <ac:chgData name="Alana Rivera" userId="S::arg3669@ads.northwestern.edu::fc8b707a-b7e9-4f2a-8d71-2d76819b7881" providerId="AD" clId="Web-{21C21437-9FB2-E09B-996A-2FA9CEE027D3}" dt="2023-12-07T14:15:33.027" v="0"/>
          <ac:spMkLst>
            <pc:docMk/>
            <pc:sldMk cId="3968927565" sldId="752"/>
            <ac:spMk id="2" creationId="{806359C8-F43E-21AB-0B9F-BC7EB28D9B4C}"/>
          </ac:spMkLst>
        </pc:spChg>
        <pc:spChg chg="mod">
          <ac:chgData name="Alana Rivera" userId="S::arg3669@ads.northwestern.edu::fc8b707a-b7e9-4f2a-8d71-2d76819b7881" providerId="AD" clId="Web-{21C21437-9FB2-E09B-996A-2FA9CEE027D3}" dt="2023-12-07T14:17:33.624" v="37" actId="20577"/>
          <ac:spMkLst>
            <pc:docMk/>
            <pc:sldMk cId="3968927565" sldId="752"/>
            <ac:spMk id="3" creationId="{4796E78C-7FE0-EEB2-D5C4-7DB5D69CA7B7}"/>
          </ac:spMkLst>
        </pc:spChg>
        <pc:spChg chg="add">
          <ac:chgData name="Alana Rivera" userId="S::arg3669@ads.northwestern.edu::fc8b707a-b7e9-4f2a-8d71-2d76819b7881" providerId="AD" clId="Web-{21C21437-9FB2-E09B-996A-2FA9CEE027D3}" dt="2023-12-07T14:15:33.027" v="0"/>
          <ac:spMkLst>
            <pc:docMk/>
            <pc:sldMk cId="3968927565" sldId="752"/>
            <ac:spMk id="10" creationId="{45D37F4E-DDB4-456B-97E0-9937730A039F}"/>
          </ac:spMkLst>
        </pc:spChg>
        <pc:spChg chg="add">
          <ac:chgData name="Alana Rivera" userId="S::arg3669@ads.northwestern.edu::fc8b707a-b7e9-4f2a-8d71-2d76819b7881" providerId="AD" clId="Web-{21C21437-9FB2-E09B-996A-2FA9CEE027D3}" dt="2023-12-07T14:15:33.027" v="0"/>
          <ac:spMkLst>
            <pc:docMk/>
            <pc:sldMk cId="3968927565" sldId="752"/>
            <ac:spMk id="12" creationId="{B2DD41CD-8F47-4F56-AD12-4E2FF7696987}"/>
          </ac:spMkLst>
        </pc:spChg>
        <pc:picChg chg="mod ord">
          <ac:chgData name="Alana Rivera" userId="S::arg3669@ads.northwestern.edu::fc8b707a-b7e9-4f2a-8d71-2d76819b7881" providerId="AD" clId="Web-{21C21437-9FB2-E09B-996A-2FA9CEE027D3}" dt="2023-12-07T14:15:33.027" v="0"/>
          <ac:picMkLst>
            <pc:docMk/>
            <pc:sldMk cId="3968927565" sldId="752"/>
            <ac:picMk id="5" creationId="{85183941-79CA-CE78-CFE9-5744E60880A2}"/>
          </ac:picMkLst>
        </pc:picChg>
      </pc:sldChg>
      <pc:sldChg chg="addSp modSp addCm modCm">
        <pc:chgData name="Alana Rivera" userId="S::arg3669@ads.northwestern.edu::fc8b707a-b7e9-4f2a-8d71-2d76819b7881" providerId="AD" clId="Web-{21C21437-9FB2-E09B-996A-2FA9CEE027D3}" dt="2023-12-07T14:26:24.357" v="154"/>
        <pc:sldMkLst>
          <pc:docMk/>
          <pc:sldMk cId="2801218349" sldId="783"/>
        </pc:sldMkLst>
        <pc:spChg chg="mod">
          <ac:chgData name="Alana Rivera" userId="S::arg3669@ads.northwestern.edu::fc8b707a-b7e9-4f2a-8d71-2d76819b7881" providerId="AD" clId="Web-{21C21437-9FB2-E09B-996A-2FA9CEE027D3}" dt="2023-12-07T14:24:55.355" v="152"/>
          <ac:spMkLst>
            <pc:docMk/>
            <pc:sldMk cId="2801218349" sldId="783"/>
            <ac:spMk id="2" creationId="{24126F8B-9BF3-A14A-155A-4BBED8D3A4F2}"/>
          </ac:spMkLst>
        </pc:spChg>
        <pc:spChg chg="mod">
          <ac:chgData name="Alana Rivera" userId="S::arg3669@ads.northwestern.edu::fc8b707a-b7e9-4f2a-8d71-2d76819b7881" providerId="AD" clId="Web-{21C21437-9FB2-E09B-996A-2FA9CEE027D3}" dt="2023-12-07T14:24:34.354" v="151" actId="14100"/>
          <ac:spMkLst>
            <pc:docMk/>
            <pc:sldMk cId="2801218349" sldId="783"/>
            <ac:spMk id="3" creationId="{93CFEAA9-8744-8A34-D609-D4A0857EBF19}"/>
          </ac:spMkLst>
        </pc:spChg>
        <pc:spChg chg="add mod">
          <ac:chgData name="Alana Rivera" userId="S::arg3669@ads.northwestern.edu::fc8b707a-b7e9-4f2a-8d71-2d76819b7881" providerId="AD" clId="Web-{21C21437-9FB2-E09B-996A-2FA9CEE027D3}" dt="2023-12-07T14:24:06.463" v="146" actId="20577"/>
          <ac:spMkLst>
            <pc:docMk/>
            <pc:sldMk cId="2801218349" sldId="783"/>
            <ac:spMk id="7" creationId="{DBE9DDB0-1D19-176F-BA57-6C3A65F44F55}"/>
          </ac:spMkLst>
        </pc:spChg>
        <pc:picChg chg="add mod">
          <ac:chgData name="Alana Rivera" userId="S::arg3669@ads.northwestern.edu::fc8b707a-b7e9-4f2a-8d71-2d76819b7881" providerId="AD" clId="Web-{21C21437-9FB2-E09B-996A-2FA9CEE027D3}" dt="2023-12-07T14:24:15.463" v="148" actId="1076"/>
          <ac:picMkLst>
            <pc:docMk/>
            <pc:sldMk cId="2801218349" sldId="783"/>
            <ac:picMk id="8" creationId="{D9FF303E-C640-AB4D-3A24-82A08FF2D1D4}"/>
          </ac:picMkLst>
        </pc:picChg>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21C21437-9FB2-E09B-996A-2FA9CEE027D3}" dt="2023-12-07T14:26:24.357" v="154"/>
              <pc2:cmMkLst xmlns:pc2="http://schemas.microsoft.com/office/powerpoint/2019/9/main/command">
                <pc:docMk/>
                <pc:sldMk cId="2801218349" sldId="783"/>
                <pc2:cmMk id="{ADB0B8E2-A4C3-4052-BAEC-D1A509747E16}"/>
              </pc2:cmMkLst>
              <pc226:cmRplyChg chg="add">
                <pc226:chgData name="Alana Rivera" userId="S::arg3669@ads.northwestern.edu::fc8b707a-b7e9-4f2a-8d71-2d76819b7881" providerId="AD" clId="Web-{21C21437-9FB2-E09B-996A-2FA9CEE027D3}" dt="2023-12-07T14:26:24.357" v="154"/>
                <pc2:cmRplyMkLst xmlns:pc2="http://schemas.microsoft.com/office/powerpoint/2019/9/main/command">
                  <pc:docMk/>
                  <pc:sldMk cId="2801218349" sldId="783"/>
                  <pc2:cmMk id="{ADB0B8E2-A4C3-4052-BAEC-D1A509747E16}"/>
                  <pc2:cmRplyMk id="{992A3914-8EFB-48C1-BAD5-1390CFF5A72F}"/>
                </pc2:cmRplyMkLst>
              </pc226:cmRplyChg>
            </pc226:cmChg>
          </p:ext>
        </pc:extLst>
      </pc:sldChg>
    </pc:docChg>
  </pc:docChgLst>
  <pc:docChgLst>
    <pc:chgData name="Alana Rivera" userId="S::arg3669@ads.northwestern.edu::fc8b707a-b7e9-4f2a-8d71-2d76819b7881" providerId="AD" clId="Web-{8E54177A-FEA1-170D-0EA8-ABD6FF4ACD90}"/>
    <pc:docChg chg="addSld modSld modMainMaster">
      <pc:chgData name="Alana Rivera" userId="S::arg3669@ads.northwestern.edu::fc8b707a-b7e9-4f2a-8d71-2d76819b7881" providerId="AD" clId="Web-{8E54177A-FEA1-170D-0EA8-ABD6FF4ACD90}" dt="2023-10-30T19:44:29.502" v="28" actId="1076"/>
      <pc:docMkLst>
        <pc:docMk/>
      </pc:docMkLst>
      <pc:sldChg chg="addCm">
        <pc:chgData name="Alana Rivera" userId="S::arg3669@ads.northwestern.edu::fc8b707a-b7e9-4f2a-8d71-2d76819b7881" providerId="AD" clId="Web-{8E54177A-FEA1-170D-0EA8-ABD6FF4ACD90}" dt="2023-10-30T19:07:35.597" v="0"/>
        <pc:sldMkLst>
          <pc:docMk/>
          <pc:sldMk cId="3127921386" sldId="280"/>
        </pc:sldMkLst>
        <pc:extLst>
          <p:ext xmlns:p="http://schemas.openxmlformats.org/presentationml/2006/main" uri="{D6D511B9-2390-475A-947B-AFAB55BFBCF1}">
            <pc226:cmChg xmlns:pc226="http://schemas.microsoft.com/office/powerpoint/2022/06/main/command" chg="add">
              <pc226:chgData name="Alana Rivera" userId="S::arg3669@ads.northwestern.edu::fc8b707a-b7e9-4f2a-8d71-2d76819b7881" providerId="AD" clId="Web-{8E54177A-FEA1-170D-0EA8-ABD6FF4ACD90}" dt="2023-10-30T19:07:35.597" v="0"/>
              <pc2:cmMkLst xmlns:pc2="http://schemas.microsoft.com/office/powerpoint/2019/9/main/command">
                <pc:docMk/>
                <pc:sldMk cId="3127921386" sldId="280"/>
                <pc2:cmMk id="{78C9B980-2656-432B-BA11-07ACE79B211F}"/>
              </pc2:cmMkLst>
            </pc226:cmChg>
          </p:ext>
        </pc:extLst>
      </pc:sldChg>
      <pc:sldChg chg="addSp modSp">
        <pc:chgData name="Alana Rivera" userId="S::arg3669@ads.northwestern.edu::fc8b707a-b7e9-4f2a-8d71-2d76819b7881" providerId="AD" clId="Web-{8E54177A-FEA1-170D-0EA8-ABD6FF4ACD90}" dt="2023-10-30T19:42:37.202" v="17" actId="20577"/>
        <pc:sldMkLst>
          <pc:docMk/>
          <pc:sldMk cId="3419957415" sldId="577"/>
        </pc:sldMkLst>
        <pc:spChg chg="add mod">
          <ac:chgData name="Alana Rivera" userId="S::arg3669@ads.northwestern.edu::fc8b707a-b7e9-4f2a-8d71-2d76819b7881" providerId="AD" clId="Web-{8E54177A-FEA1-170D-0EA8-ABD6FF4ACD90}" dt="2023-10-30T19:42:37.202" v="17" actId="20577"/>
          <ac:spMkLst>
            <pc:docMk/>
            <pc:sldMk cId="3419957415" sldId="577"/>
            <ac:spMk id="64" creationId="{CE06DA76-2516-7530-74D6-38D1B1FC6BFE}"/>
          </ac:spMkLst>
        </pc:spChg>
      </pc:sldChg>
      <pc:sldChg chg="addSp modSp">
        <pc:chgData name="Alana Rivera" userId="S::arg3669@ads.northwestern.edu::fc8b707a-b7e9-4f2a-8d71-2d76819b7881" providerId="AD" clId="Web-{8E54177A-FEA1-170D-0EA8-ABD6FF4ACD90}" dt="2023-10-30T19:44:29.502" v="28" actId="1076"/>
        <pc:sldMkLst>
          <pc:docMk/>
          <pc:sldMk cId="785115983" sldId="578"/>
        </pc:sldMkLst>
        <pc:spChg chg="add mod">
          <ac:chgData name="Alana Rivera" userId="S::arg3669@ads.northwestern.edu::fc8b707a-b7e9-4f2a-8d71-2d76819b7881" providerId="AD" clId="Web-{8E54177A-FEA1-170D-0EA8-ABD6FF4ACD90}" dt="2023-10-30T19:44:29.502" v="28" actId="1076"/>
          <ac:spMkLst>
            <pc:docMk/>
            <pc:sldMk cId="785115983" sldId="578"/>
            <ac:spMk id="54" creationId="{3719DC3C-330E-96DC-F3E0-D6B8EE5E5A3C}"/>
          </ac:spMkLst>
        </pc:spChg>
      </pc:sldChg>
      <pc:sldChg chg="addSp modSp">
        <pc:chgData name="Alana Rivera" userId="S::arg3669@ads.northwestern.edu::fc8b707a-b7e9-4f2a-8d71-2d76819b7881" providerId="AD" clId="Web-{8E54177A-FEA1-170D-0EA8-ABD6FF4ACD90}" dt="2023-10-30T19:44:18.002" v="26" actId="1076"/>
        <pc:sldMkLst>
          <pc:docMk/>
          <pc:sldMk cId="3030449316" sldId="579"/>
        </pc:sldMkLst>
        <pc:spChg chg="add mod">
          <ac:chgData name="Alana Rivera" userId="S::arg3669@ads.northwestern.edu::fc8b707a-b7e9-4f2a-8d71-2d76819b7881" providerId="AD" clId="Web-{8E54177A-FEA1-170D-0EA8-ABD6FF4ACD90}" dt="2023-10-30T19:44:18.002" v="26" actId="1076"/>
          <ac:spMkLst>
            <pc:docMk/>
            <pc:sldMk cId="3030449316" sldId="579"/>
            <ac:spMk id="56" creationId="{AB0F7BDF-C613-8BB0-BFCB-8F26B40EC06E}"/>
          </ac:spMkLst>
        </pc:spChg>
      </pc:sldChg>
      <pc:sldChg chg="addSp modSp">
        <pc:chgData name="Alana Rivera" userId="S::arg3669@ads.northwestern.edu::fc8b707a-b7e9-4f2a-8d71-2d76819b7881" providerId="AD" clId="Web-{8E54177A-FEA1-170D-0EA8-ABD6FF4ACD90}" dt="2023-10-30T19:44:05.314" v="24" actId="1076"/>
        <pc:sldMkLst>
          <pc:docMk/>
          <pc:sldMk cId="4283907660" sldId="580"/>
        </pc:sldMkLst>
        <pc:spChg chg="add mod">
          <ac:chgData name="Alana Rivera" userId="S::arg3669@ads.northwestern.edu::fc8b707a-b7e9-4f2a-8d71-2d76819b7881" providerId="AD" clId="Web-{8E54177A-FEA1-170D-0EA8-ABD6FF4ACD90}" dt="2023-10-30T19:44:05.314" v="24" actId="1076"/>
          <ac:spMkLst>
            <pc:docMk/>
            <pc:sldMk cId="4283907660" sldId="580"/>
            <ac:spMk id="71" creationId="{755536B4-F5C2-3697-61E6-0681DE0C12BD}"/>
          </ac:spMkLst>
        </pc:spChg>
      </pc:sldChg>
      <pc:sldChg chg="addSp modSp">
        <pc:chgData name="Alana Rivera" userId="S::arg3669@ads.northwestern.edu::fc8b707a-b7e9-4f2a-8d71-2d76819b7881" providerId="AD" clId="Web-{8E54177A-FEA1-170D-0EA8-ABD6FF4ACD90}" dt="2023-10-30T19:42:59.765" v="19" actId="1076"/>
        <pc:sldMkLst>
          <pc:docMk/>
          <pc:sldMk cId="3429940818" sldId="581"/>
        </pc:sldMkLst>
        <pc:spChg chg="add mod">
          <ac:chgData name="Alana Rivera" userId="S::arg3669@ads.northwestern.edu::fc8b707a-b7e9-4f2a-8d71-2d76819b7881" providerId="AD" clId="Web-{8E54177A-FEA1-170D-0EA8-ABD6FF4ACD90}" dt="2023-10-30T19:42:59.765" v="19" actId="1076"/>
          <ac:spMkLst>
            <pc:docMk/>
            <pc:sldMk cId="3429940818" sldId="581"/>
            <ac:spMk id="73" creationId="{1A989E17-799A-6415-ED4B-A44CCA00B657}"/>
          </ac:spMkLst>
        </pc:spChg>
      </pc:sldChg>
      <pc:sldChg chg="add">
        <pc:chgData name="Alana Rivera" userId="S::arg3669@ads.northwestern.edu::fc8b707a-b7e9-4f2a-8d71-2d76819b7881" providerId="AD" clId="Web-{8E54177A-FEA1-170D-0EA8-ABD6FF4ACD90}" dt="2023-10-30T19:11:07.401" v="1"/>
        <pc:sldMkLst>
          <pc:docMk/>
          <pc:sldMk cId="1271905251" sldId="637"/>
        </pc:sldMkLst>
      </pc:sldChg>
      <pc:sldChg chg="add">
        <pc:chgData name="Alana Rivera" userId="S::arg3669@ads.northwestern.edu::fc8b707a-b7e9-4f2a-8d71-2d76819b7881" providerId="AD" clId="Web-{8E54177A-FEA1-170D-0EA8-ABD6FF4ACD90}" dt="2023-10-30T19:11:07.526" v="2"/>
        <pc:sldMkLst>
          <pc:docMk/>
          <pc:sldMk cId="2890705621" sldId="638"/>
        </pc:sldMkLst>
      </pc:sldChg>
      <pc:sldChg chg="add">
        <pc:chgData name="Alana Rivera" userId="S::arg3669@ads.northwestern.edu::fc8b707a-b7e9-4f2a-8d71-2d76819b7881" providerId="AD" clId="Web-{8E54177A-FEA1-170D-0EA8-ABD6FF4ACD90}" dt="2023-10-30T19:11:25.277" v="3"/>
        <pc:sldMkLst>
          <pc:docMk/>
          <pc:sldMk cId="3557549611" sldId="639"/>
        </pc:sldMkLst>
      </pc:sldChg>
      <pc:sldMasterChg chg="addSldLayout">
        <pc:chgData name="Alana Rivera" userId="S::arg3669@ads.northwestern.edu::fc8b707a-b7e9-4f2a-8d71-2d76819b7881" providerId="AD" clId="Web-{8E54177A-FEA1-170D-0EA8-ABD6FF4ACD90}" dt="2023-10-30T19:11:07.401" v="1"/>
        <pc:sldMasterMkLst>
          <pc:docMk/>
          <pc:sldMasterMk cId="3378073280" sldId="2147483756"/>
        </pc:sldMasterMkLst>
        <pc:sldLayoutChg chg="add">
          <pc:chgData name="Alana Rivera" userId="S::arg3669@ads.northwestern.edu::fc8b707a-b7e9-4f2a-8d71-2d76819b7881" providerId="AD" clId="Web-{8E54177A-FEA1-170D-0EA8-ABD6FF4ACD90}" dt="2023-10-30T19:11:07.401" v="1"/>
          <pc:sldLayoutMkLst>
            <pc:docMk/>
            <pc:sldMasterMk cId="3378073280" sldId="2147483756"/>
            <pc:sldLayoutMk cId="2441756453" sldId="2147483680"/>
          </pc:sldLayoutMkLst>
        </pc:sldLayoutChg>
        <pc:sldLayoutChg chg="add">
          <pc:chgData name="Alana Rivera" userId="S::arg3669@ads.northwestern.edu::fc8b707a-b7e9-4f2a-8d71-2d76819b7881" providerId="AD" clId="Web-{8E54177A-FEA1-170D-0EA8-ABD6FF4ACD90}" dt="2023-10-30T19:11:07.401" v="1"/>
          <pc:sldLayoutMkLst>
            <pc:docMk/>
            <pc:sldMasterMk cId="3378073280" sldId="2147483756"/>
            <pc:sldLayoutMk cId="4224424939" sldId="2147483681"/>
          </pc:sldLayoutMkLst>
        </pc:sldLayoutChg>
      </pc:sldMasterChg>
      <pc:sldMasterChg chg="modSldLayout">
        <pc:chgData name="Alana Rivera" userId="S::arg3669@ads.northwestern.edu::fc8b707a-b7e9-4f2a-8d71-2d76819b7881" providerId="AD" clId="Web-{8E54177A-FEA1-170D-0EA8-ABD6FF4ACD90}" dt="2023-10-30T19:11:07.401" v="1"/>
        <pc:sldMasterMkLst>
          <pc:docMk/>
          <pc:sldMasterMk cId="0" sldId="2147484595"/>
        </pc:sldMasterMkLst>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0"/>
          </pc:sldLayoutMkLst>
        </pc:sldLayoutChg>
        <pc:sldLayoutChg chg="replId">
          <pc:chgData name="Alana Rivera" userId="S::arg3669@ads.northwestern.edu::fc8b707a-b7e9-4f2a-8d71-2d76819b7881" providerId="AD" clId="Web-{8E54177A-FEA1-170D-0EA8-ABD6FF4ACD90}" dt="2023-10-30T19:11:07.401" v="1"/>
          <pc:sldLayoutMkLst>
            <pc:docMk/>
            <pc:sldMasterMk cId="0" sldId="2147484595"/>
            <pc:sldLayoutMk cId="0" sldId="2147487381"/>
          </pc:sldLayoutMkLst>
        </pc:sldLayoutChg>
      </pc:sldMasterChg>
    </pc:docChg>
  </pc:docChgLst>
  <pc:docChgLst>
    <pc:chgData name="Isabel Rose Gippo" userId="S::irg9370@ads.northwestern.edu::b10bfe7e-55b9-46dd-9add-2eb52cb66d3b" providerId="AD" clId="Web-{DC570ED0-804E-A0E2-5D93-D510896DFB64}"/>
    <pc:docChg chg="addSld modSld">
      <pc:chgData name="Isabel Rose Gippo" userId="S::irg9370@ads.northwestern.edu::b10bfe7e-55b9-46dd-9add-2eb52cb66d3b" providerId="AD" clId="Web-{DC570ED0-804E-A0E2-5D93-D510896DFB64}" dt="2023-10-24T14:25:12.957" v="624"/>
      <pc:docMkLst>
        <pc:docMk/>
      </pc:docMkLst>
      <pc:sldChg chg="addSp delSp modSp add replId">
        <pc:chgData name="Isabel Rose Gippo" userId="S::irg9370@ads.northwestern.edu::b10bfe7e-55b9-46dd-9add-2eb52cb66d3b" providerId="AD" clId="Web-{DC570ED0-804E-A0E2-5D93-D510896DFB64}" dt="2023-10-24T13:50:42.643" v="314" actId="20577"/>
        <pc:sldMkLst>
          <pc:docMk/>
          <pc:sldMk cId="3090389772" sldId="568"/>
        </pc:sldMkLst>
        <pc:spChg chg="del">
          <ac:chgData name="Isabel Rose Gippo" userId="S::irg9370@ads.northwestern.edu::b10bfe7e-55b9-46dd-9add-2eb52cb66d3b" providerId="AD" clId="Web-{DC570ED0-804E-A0E2-5D93-D510896DFB64}" dt="2023-10-24T13:23:11.220" v="1"/>
          <ac:spMkLst>
            <pc:docMk/>
            <pc:sldMk cId="3090389772" sldId="568"/>
            <ac:spMk id="2" creationId="{00000000-0000-0000-0000-000000000000}"/>
          </ac:spMkLst>
        </pc:spChg>
        <pc:spChg chg="del">
          <ac:chgData name="Isabel Rose Gippo" userId="S::irg9370@ads.northwestern.edu::b10bfe7e-55b9-46dd-9add-2eb52cb66d3b" providerId="AD" clId="Web-{DC570ED0-804E-A0E2-5D93-D510896DFB64}" dt="2023-10-24T13:23:17.877" v="2"/>
          <ac:spMkLst>
            <pc:docMk/>
            <pc:sldMk cId="3090389772" sldId="568"/>
            <ac:spMk id="3" creationId="{00000000-0000-0000-0000-000000000000}"/>
          </ac:spMkLst>
        </pc:spChg>
        <pc:spChg chg="add del mod">
          <ac:chgData name="Isabel Rose Gippo" userId="S::irg9370@ads.northwestern.edu::b10bfe7e-55b9-46dd-9add-2eb52cb66d3b" providerId="AD" clId="Web-{DC570ED0-804E-A0E2-5D93-D510896DFB64}" dt="2023-10-24T13:29:49.501" v="23"/>
          <ac:spMkLst>
            <pc:docMk/>
            <pc:sldMk cId="3090389772" sldId="568"/>
            <ac:spMk id="6" creationId="{595990F9-94FA-9087-B8D0-01F767817104}"/>
          </ac:spMkLst>
        </pc:spChg>
        <pc:spChg chg="add del mod">
          <ac:chgData name="Isabel Rose Gippo" userId="S::irg9370@ads.northwestern.edu::b10bfe7e-55b9-46dd-9add-2eb52cb66d3b" providerId="AD" clId="Web-{DC570ED0-804E-A0E2-5D93-D510896DFB64}" dt="2023-10-24T13:32:00.913" v="82"/>
          <ac:spMkLst>
            <pc:docMk/>
            <pc:sldMk cId="3090389772" sldId="568"/>
            <ac:spMk id="8" creationId="{4B95CBD6-6501-8155-A01B-E05B42CCEA51}"/>
          </ac:spMkLst>
        </pc:spChg>
        <pc:spChg chg="add del mod">
          <ac:chgData name="Isabel Rose Gippo" userId="S::irg9370@ads.northwestern.edu::b10bfe7e-55b9-46dd-9add-2eb52cb66d3b" providerId="AD" clId="Web-{DC570ED0-804E-A0E2-5D93-D510896DFB64}" dt="2023-10-24T13:32:07.725" v="84"/>
          <ac:spMkLst>
            <pc:docMk/>
            <pc:sldMk cId="3090389772" sldId="568"/>
            <ac:spMk id="10" creationId="{F8479F00-3CC7-E2BA-FDD4-47B34220F1E9}"/>
          </ac:spMkLst>
        </pc:spChg>
        <pc:spChg chg="add mod">
          <ac:chgData name="Isabel Rose Gippo" userId="S::irg9370@ads.northwestern.edu::b10bfe7e-55b9-46dd-9add-2eb52cb66d3b" providerId="AD" clId="Web-{DC570ED0-804E-A0E2-5D93-D510896DFB64}" dt="2023-10-24T13:41:13.449" v="218" actId="1076"/>
          <ac:spMkLst>
            <pc:docMk/>
            <pc:sldMk cId="3090389772" sldId="568"/>
            <ac:spMk id="11" creationId="{13896302-555C-1A80-C459-6D1ACE663F72}"/>
          </ac:spMkLst>
        </pc:spChg>
        <pc:spChg chg="add mod">
          <ac:chgData name="Isabel Rose Gippo" userId="S::irg9370@ads.northwestern.edu::b10bfe7e-55b9-46dd-9add-2eb52cb66d3b" providerId="AD" clId="Web-{DC570ED0-804E-A0E2-5D93-D510896DFB64}" dt="2023-10-24T13:50:14.611" v="310"/>
          <ac:spMkLst>
            <pc:docMk/>
            <pc:sldMk cId="3090389772" sldId="568"/>
            <ac:spMk id="15" creationId="{CA00A902-9377-5B4A-9651-129D059BB685}"/>
          </ac:spMkLst>
        </pc:spChg>
        <pc:spChg chg="add mod">
          <ac:chgData name="Isabel Rose Gippo" userId="S::irg9370@ads.northwestern.edu::b10bfe7e-55b9-46dd-9add-2eb52cb66d3b" providerId="AD" clId="Web-{DC570ED0-804E-A0E2-5D93-D510896DFB64}" dt="2023-10-24T13:50:23.752" v="311" actId="1076"/>
          <ac:spMkLst>
            <pc:docMk/>
            <pc:sldMk cId="3090389772" sldId="568"/>
            <ac:spMk id="17" creationId="{C4FB321D-7C09-3587-1451-1763097B5C30}"/>
          </ac:spMkLst>
        </pc:spChg>
        <pc:spChg chg="add mod">
          <ac:chgData name="Isabel Rose Gippo" userId="S::irg9370@ads.northwestern.edu::b10bfe7e-55b9-46dd-9add-2eb52cb66d3b" providerId="AD" clId="Web-{DC570ED0-804E-A0E2-5D93-D510896DFB64}" dt="2023-10-24T13:50:42.643" v="314" actId="20577"/>
          <ac:spMkLst>
            <pc:docMk/>
            <pc:sldMk cId="3090389772" sldId="568"/>
            <ac:spMk id="19" creationId="{F49C1F1A-614A-5749-1A3F-78980B65ADBC}"/>
          </ac:spMkLst>
        </pc:spChg>
        <pc:spChg chg="mod">
          <ac:chgData name="Isabel Rose Gippo" userId="S::irg9370@ads.northwestern.edu::b10bfe7e-55b9-46dd-9add-2eb52cb66d3b" providerId="AD" clId="Web-{DC570ED0-804E-A0E2-5D93-D510896DFB64}" dt="2023-10-24T13:43:41.971" v="242" actId="20577"/>
          <ac:spMkLst>
            <pc:docMk/>
            <pc:sldMk cId="3090389772" sldId="568"/>
            <ac:spMk id="16386" creationId="{00000000-0000-0000-0000-000000000000}"/>
          </ac:spMkLst>
        </pc:spChg>
        <pc:spChg chg="del mod">
          <ac:chgData name="Isabel Rose Gippo" userId="S::irg9370@ads.northwestern.edu::b10bfe7e-55b9-46dd-9add-2eb52cb66d3b" providerId="AD" clId="Web-{DC570ED0-804E-A0E2-5D93-D510896DFB64}" dt="2023-10-24T13:29:24.219" v="18"/>
          <ac:spMkLst>
            <pc:docMk/>
            <pc:sldMk cId="3090389772" sldId="568"/>
            <ac:spMk id="16387" creationId="{00000000-0000-0000-0000-000000000000}"/>
          </ac:spMkLst>
        </pc:spChg>
        <pc:picChg chg="add del mod modCrop">
          <ac:chgData name="Isabel Rose Gippo" userId="S::irg9370@ads.northwestern.edu::b10bfe7e-55b9-46dd-9add-2eb52cb66d3b" providerId="AD" clId="Web-{DC570ED0-804E-A0E2-5D93-D510896DFB64}" dt="2023-10-24T13:36:48.470" v="138"/>
          <ac:picMkLst>
            <pc:docMk/>
            <pc:sldMk cId="3090389772" sldId="568"/>
            <ac:picMk id="4" creationId="{7C4A6C95-34AE-C8E6-1DCF-F6079B87A6AC}"/>
          </ac:picMkLst>
        </pc:picChg>
        <pc:picChg chg="add del mod ord">
          <ac:chgData name="Isabel Rose Gippo" userId="S::irg9370@ads.northwestern.edu::b10bfe7e-55b9-46dd-9add-2eb52cb66d3b" providerId="AD" clId="Web-{DC570ED0-804E-A0E2-5D93-D510896DFB64}" dt="2023-10-24T13:37:31.425" v="146"/>
          <ac:picMkLst>
            <pc:docMk/>
            <pc:sldMk cId="3090389772" sldId="568"/>
            <ac:picMk id="12" creationId="{1157BB9A-851C-C255-0310-D42AC336B66F}"/>
          </ac:picMkLst>
        </pc:picChg>
        <pc:picChg chg="add del mod">
          <ac:chgData name="Isabel Rose Gippo" userId="S::irg9370@ads.northwestern.edu::b10bfe7e-55b9-46dd-9add-2eb52cb66d3b" providerId="AD" clId="Web-{DC570ED0-804E-A0E2-5D93-D510896DFB64}" dt="2023-10-24T13:40:56.449" v="211"/>
          <ac:picMkLst>
            <pc:docMk/>
            <pc:sldMk cId="3090389772" sldId="568"/>
            <ac:picMk id="13" creationId="{80A9386E-A3C6-98A2-026F-0D769C360E01}"/>
          </ac:picMkLst>
        </pc:picChg>
        <pc:picChg chg="add mod ord">
          <ac:chgData name="Isabel Rose Gippo" userId="S::irg9370@ads.northwestern.edu::b10bfe7e-55b9-46dd-9add-2eb52cb66d3b" providerId="AD" clId="Web-{DC570ED0-804E-A0E2-5D93-D510896DFB64}" dt="2023-10-24T13:49:48.203" v="305" actId="1076"/>
          <ac:picMkLst>
            <pc:docMk/>
            <pc:sldMk cId="3090389772" sldId="568"/>
            <ac:picMk id="14" creationId="{557B5DD0-CAF3-34F4-E916-20658CE8833E}"/>
          </ac:picMkLst>
        </pc:picChg>
        <pc:picChg chg="add mod">
          <ac:chgData name="Isabel Rose Gippo" userId="S::irg9370@ads.northwestern.edu::b10bfe7e-55b9-46dd-9add-2eb52cb66d3b" providerId="AD" clId="Web-{DC570ED0-804E-A0E2-5D93-D510896DFB64}" dt="2023-10-24T13:41:06.387" v="215" actId="14100"/>
          <ac:picMkLst>
            <pc:docMk/>
            <pc:sldMk cId="3090389772" sldId="568"/>
            <ac:picMk id="16" creationId="{EFDCBE94-658B-EA5C-C848-56FA88C493AB}"/>
          </ac:picMkLst>
        </pc:picChg>
        <pc:picChg chg="add del mod">
          <ac:chgData name="Isabel Rose Gippo" userId="S::irg9370@ads.northwestern.edu::b10bfe7e-55b9-46dd-9add-2eb52cb66d3b" providerId="AD" clId="Web-{DC570ED0-804E-A0E2-5D93-D510896DFB64}" dt="2023-10-24T13:46:05.070" v="270"/>
          <ac:picMkLst>
            <pc:docMk/>
            <pc:sldMk cId="3090389772" sldId="568"/>
            <ac:picMk id="18" creationId="{45BD3714-27F2-FE16-2BFB-D745A0BC2166}"/>
          </ac:picMkLst>
        </pc:picChg>
        <pc:picChg chg="add del mod">
          <ac:chgData name="Isabel Rose Gippo" userId="S::irg9370@ads.northwestern.edu::b10bfe7e-55b9-46dd-9add-2eb52cb66d3b" providerId="AD" clId="Web-{DC570ED0-804E-A0E2-5D93-D510896DFB64}" dt="2023-10-24T13:48:36.576" v="287"/>
          <ac:picMkLst>
            <pc:docMk/>
            <pc:sldMk cId="3090389772" sldId="568"/>
            <ac:picMk id="20" creationId="{323A1FF1-1E09-F17F-231B-8C8A872B941D}"/>
          </ac:picMkLst>
        </pc:picChg>
        <pc:picChg chg="add mod">
          <ac:chgData name="Isabel Rose Gippo" userId="S::irg9370@ads.northwestern.edu::b10bfe7e-55b9-46dd-9add-2eb52cb66d3b" providerId="AD" clId="Web-{DC570ED0-804E-A0E2-5D93-D510896DFB64}" dt="2023-10-24T13:49:32.953" v="303" actId="1076"/>
          <ac:picMkLst>
            <pc:docMk/>
            <pc:sldMk cId="3090389772" sldId="568"/>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3:56:07.781" v="380"/>
        <pc:sldMkLst>
          <pc:docMk/>
          <pc:sldMk cId="1088329954" sldId="569"/>
        </pc:sldMkLst>
        <pc:spChg chg="del mod">
          <ac:chgData name="Isabel Rose Gippo" userId="S::irg9370@ads.northwestern.edu::b10bfe7e-55b9-46dd-9add-2eb52cb66d3b" providerId="AD" clId="Web-{DC570ED0-804E-A0E2-5D93-D510896DFB64}" dt="2023-10-24T13:51:45.942" v="335"/>
          <ac:spMkLst>
            <pc:docMk/>
            <pc:sldMk cId="1088329954" sldId="569"/>
            <ac:spMk id="11" creationId="{13896302-555C-1A80-C459-6D1ACE663F72}"/>
          </ac:spMkLst>
        </pc:spChg>
        <pc:spChg chg="del">
          <ac:chgData name="Isabel Rose Gippo" userId="S::irg9370@ads.northwestern.edu::b10bfe7e-55b9-46dd-9add-2eb52cb66d3b" providerId="AD" clId="Web-{DC570ED0-804E-A0E2-5D93-D510896DFB64}" dt="2023-10-24T13:51:39.333" v="332"/>
          <ac:spMkLst>
            <pc:docMk/>
            <pc:sldMk cId="1088329954" sldId="569"/>
            <ac:spMk id="15" creationId="{CA00A902-9377-5B4A-9651-129D059BB685}"/>
          </ac:spMkLst>
        </pc:spChg>
        <pc:spChg chg="del">
          <ac:chgData name="Isabel Rose Gippo" userId="S::irg9370@ads.northwestern.edu::b10bfe7e-55b9-46dd-9add-2eb52cb66d3b" providerId="AD" clId="Web-{DC570ED0-804E-A0E2-5D93-D510896DFB64}" dt="2023-10-24T13:51:29.442" v="329"/>
          <ac:spMkLst>
            <pc:docMk/>
            <pc:sldMk cId="1088329954" sldId="569"/>
            <ac:spMk id="17" creationId="{C4FB321D-7C09-3587-1451-1763097B5C30}"/>
          </ac:spMkLst>
        </pc:spChg>
        <pc:spChg chg="add del mod">
          <ac:chgData name="Isabel Rose Gippo" userId="S::irg9370@ads.northwestern.edu::b10bfe7e-55b9-46dd-9add-2eb52cb66d3b" providerId="AD" clId="Web-{DC570ED0-804E-A0E2-5D93-D510896DFB64}" dt="2023-10-24T13:55:21.716" v="376" actId="1076"/>
          <ac:spMkLst>
            <pc:docMk/>
            <pc:sldMk cId="1088329954" sldId="569"/>
            <ac:spMk id="19" creationId="{F49C1F1A-614A-5749-1A3F-78980B65ADBC}"/>
          </ac:spMkLst>
        </pc:spChg>
        <pc:spChg chg="mod">
          <ac:chgData name="Isabel Rose Gippo" userId="S::irg9370@ads.northwestern.edu::b10bfe7e-55b9-46dd-9add-2eb52cb66d3b" providerId="AD" clId="Web-{DC570ED0-804E-A0E2-5D93-D510896DFB64}" dt="2023-10-24T13:53:46.478" v="349" actId="20577"/>
          <ac:spMkLst>
            <pc:docMk/>
            <pc:sldMk cId="1088329954" sldId="569"/>
            <ac:spMk id="16386" creationId="{00000000-0000-0000-0000-000000000000}"/>
          </ac:spMkLst>
        </pc:spChg>
        <pc:picChg chg="add mod">
          <ac:chgData name="Isabel Rose Gippo" userId="S::irg9370@ads.northwestern.edu::b10bfe7e-55b9-46dd-9add-2eb52cb66d3b" providerId="AD" clId="Web-{DC570ED0-804E-A0E2-5D93-D510896DFB64}" dt="2023-10-24T13:56:07.781" v="380"/>
          <ac:picMkLst>
            <pc:docMk/>
            <pc:sldMk cId="1088329954" sldId="569"/>
            <ac:picMk id="2" creationId="{7088B35E-417D-2903-C144-75276D9E0FF3}"/>
          </ac:picMkLst>
        </pc:picChg>
        <pc:picChg chg="del">
          <ac:chgData name="Isabel Rose Gippo" userId="S::irg9370@ads.northwestern.edu::b10bfe7e-55b9-46dd-9add-2eb52cb66d3b" providerId="AD" clId="Web-{DC570ED0-804E-A0E2-5D93-D510896DFB64}" dt="2023-10-24T13:51:40.223" v="333"/>
          <ac:picMkLst>
            <pc:docMk/>
            <pc:sldMk cId="1088329954" sldId="569"/>
            <ac:picMk id="14" creationId="{557B5DD0-CAF3-34F4-E916-20658CE8833E}"/>
          </ac:picMkLst>
        </pc:picChg>
        <pc:picChg chg="del">
          <ac:chgData name="Isabel Rose Gippo" userId="S::irg9370@ads.northwestern.edu::b10bfe7e-55b9-46dd-9add-2eb52cb66d3b" providerId="AD" clId="Web-{DC570ED0-804E-A0E2-5D93-D510896DFB64}" dt="2023-10-24T13:51:37.551" v="331"/>
          <ac:picMkLst>
            <pc:docMk/>
            <pc:sldMk cId="1088329954" sldId="569"/>
            <ac:picMk id="16" creationId="{EFDCBE94-658B-EA5C-C848-56FA88C493AB}"/>
          </ac:picMkLst>
        </pc:picChg>
        <pc:picChg chg="del">
          <ac:chgData name="Isabel Rose Gippo" userId="S::irg9370@ads.northwestern.edu::b10bfe7e-55b9-46dd-9add-2eb52cb66d3b" providerId="AD" clId="Web-{DC570ED0-804E-A0E2-5D93-D510896DFB64}" dt="2023-10-24T13:51:27.457" v="328"/>
          <ac:picMkLst>
            <pc:docMk/>
            <pc:sldMk cId="1088329954" sldId="569"/>
            <ac:picMk id="21" creationId="{B3F7D84D-D47C-2EE1-3151-7E4DB552539E}"/>
          </ac:picMkLst>
        </pc:picChg>
      </pc:sldChg>
      <pc:sldChg chg="addSp delSp modSp add replId">
        <pc:chgData name="Isabel Rose Gippo" userId="S::irg9370@ads.northwestern.edu::b10bfe7e-55b9-46dd-9add-2eb52cb66d3b" providerId="AD" clId="Web-{DC570ED0-804E-A0E2-5D93-D510896DFB64}" dt="2023-10-24T14:25:12.957" v="624"/>
        <pc:sldMkLst>
          <pc:docMk/>
          <pc:sldMk cId="2849312483" sldId="570"/>
        </pc:sldMkLst>
        <pc:spChg chg="add mod">
          <ac:chgData name="Isabel Rose Gippo" userId="S::irg9370@ads.northwestern.edu::b10bfe7e-55b9-46dd-9add-2eb52cb66d3b" providerId="AD" clId="Web-{DC570ED0-804E-A0E2-5D93-D510896DFB64}" dt="2023-10-24T14:23:31.594" v="621" actId="1076"/>
          <ac:spMkLst>
            <pc:docMk/>
            <pc:sldMk cId="2849312483" sldId="570"/>
            <ac:spMk id="4" creationId="{EA09FBC4-EFF6-9AB4-25A1-D6ED252CED0D}"/>
          </ac:spMkLst>
        </pc:spChg>
        <pc:spChg chg="add mod">
          <ac:chgData name="Isabel Rose Gippo" userId="S::irg9370@ads.northwestern.edu::b10bfe7e-55b9-46dd-9add-2eb52cb66d3b" providerId="AD" clId="Web-{DC570ED0-804E-A0E2-5D93-D510896DFB64}" dt="2023-10-24T14:08:31.356" v="552" actId="1076"/>
          <ac:spMkLst>
            <pc:docMk/>
            <pc:sldMk cId="2849312483" sldId="570"/>
            <ac:spMk id="5" creationId="{E069BE35-38BF-B866-0B62-A243ACB6F110}"/>
          </ac:spMkLst>
        </pc:spChg>
        <pc:spChg chg="add mod">
          <ac:chgData name="Isabel Rose Gippo" userId="S::irg9370@ads.northwestern.edu::b10bfe7e-55b9-46dd-9add-2eb52cb66d3b" providerId="AD" clId="Web-{DC570ED0-804E-A0E2-5D93-D510896DFB64}" dt="2023-10-24T14:08:28.387" v="551" actId="1076"/>
          <ac:spMkLst>
            <pc:docMk/>
            <pc:sldMk cId="2849312483" sldId="570"/>
            <ac:spMk id="6" creationId="{137890F0-FB58-2F7F-C68D-9B504512854C}"/>
          </ac:spMkLst>
        </pc:spChg>
        <pc:spChg chg="add mod">
          <ac:chgData name="Isabel Rose Gippo" userId="S::irg9370@ads.northwestern.edu::b10bfe7e-55b9-46dd-9add-2eb52cb66d3b" providerId="AD" clId="Web-{DC570ED0-804E-A0E2-5D93-D510896DFB64}" dt="2023-10-24T14:08:47.263" v="558" actId="1076"/>
          <ac:spMkLst>
            <pc:docMk/>
            <pc:sldMk cId="2849312483" sldId="570"/>
            <ac:spMk id="7" creationId="{1F35585C-3549-CE9C-A34A-3452229F6833}"/>
          </ac:spMkLst>
        </pc:spChg>
        <pc:spChg chg="add mod">
          <ac:chgData name="Isabel Rose Gippo" userId="S::irg9370@ads.northwestern.edu::b10bfe7e-55b9-46dd-9add-2eb52cb66d3b" providerId="AD" clId="Web-{DC570ED0-804E-A0E2-5D93-D510896DFB64}" dt="2023-10-24T14:08:53.263" v="560" actId="1076"/>
          <ac:spMkLst>
            <pc:docMk/>
            <pc:sldMk cId="2849312483" sldId="570"/>
            <ac:spMk id="9" creationId="{9BD0DB87-BFB9-248F-9187-16322CEC9C89}"/>
          </ac:spMkLst>
        </pc:spChg>
        <pc:spChg chg="add mod">
          <ac:chgData name="Isabel Rose Gippo" userId="S::irg9370@ads.northwestern.edu::b10bfe7e-55b9-46dd-9add-2eb52cb66d3b" providerId="AD" clId="Web-{DC570ED0-804E-A0E2-5D93-D510896DFB64}" dt="2023-10-24T14:09:06.264" v="565" actId="1076"/>
          <ac:spMkLst>
            <pc:docMk/>
            <pc:sldMk cId="2849312483" sldId="570"/>
            <ac:spMk id="10" creationId="{C8307CA0-040F-CDB1-5F4D-16A04C6E74DF}"/>
          </ac:spMkLst>
        </pc:spChg>
        <pc:spChg chg="del mod">
          <ac:chgData name="Isabel Rose Gippo" userId="S::irg9370@ads.northwestern.edu::b10bfe7e-55b9-46dd-9add-2eb52cb66d3b" providerId="AD" clId="Web-{DC570ED0-804E-A0E2-5D93-D510896DFB64}" dt="2023-10-24T13:58:55.912" v="410"/>
          <ac:spMkLst>
            <pc:docMk/>
            <pc:sldMk cId="2849312483" sldId="570"/>
            <ac:spMk id="19" creationId="{F49C1F1A-614A-5749-1A3F-78980B65ADBC}"/>
          </ac:spMkLst>
        </pc:spChg>
        <pc:spChg chg="mod">
          <ac:chgData name="Isabel Rose Gippo" userId="S::irg9370@ads.northwestern.edu::b10bfe7e-55b9-46dd-9add-2eb52cb66d3b" providerId="AD" clId="Web-{DC570ED0-804E-A0E2-5D93-D510896DFB64}" dt="2023-10-24T13:59:10.163" v="416" actId="14100"/>
          <ac:spMkLst>
            <pc:docMk/>
            <pc:sldMk cId="2849312483" sldId="570"/>
            <ac:spMk id="16386" creationId="{00000000-0000-0000-0000-000000000000}"/>
          </ac:spMkLst>
        </pc:spChg>
        <pc:picChg chg="del">
          <ac:chgData name="Isabel Rose Gippo" userId="S::irg9370@ads.northwestern.edu::b10bfe7e-55b9-46dd-9add-2eb52cb66d3b" providerId="AD" clId="Web-{DC570ED0-804E-A0E2-5D93-D510896DFB64}" dt="2023-10-24T13:56:26.938" v="382"/>
          <ac:picMkLst>
            <pc:docMk/>
            <pc:sldMk cId="2849312483" sldId="570"/>
            <ac:picMk id="2" creationId="{7088B35E-417D-2903-C144-75276D9E0FF3}"/>
          </ac:picMkLst>
        </pc:picChg>
        <pc:picChg chg="add del mod">
          <ac:chgData name="Isabel Rose Gippo" userId="S::irg9370@ads.northwestern.edu::b10bfe7e-55b9-46dd-9add-2eb52cb66d3b" providerId="AD" clId="Web-{DC570ED0-804E-A0E2-5D93-D510896DFB64}" dt="2023-10-24T14:01:02.948" v="468"/>
          <ac:picMkLst>
            <pc:docMk/>
            <pc:sldMk cId="2849312483" sldId="570"/>
            <ac:picMk id="3" creationId="{60CCB867-B87F-D599-0728-D3845AEE0902}"/>
          </ac:picMkLst>
        </pc:picChg>
        <pc:picChg chg="add mod">
          <ac:chgData name="Isabel Rose Gippo" userId="S::irg9370@ads.northwestern.edu::b10bfe7e-55b9-46dd-9add-2eb52cb66d3b" providerId="AD" clId="Web-{DC570ED0-804E-A0E2-5D93-D510896DFB64}" dt="2023-10-24T14:08:44.372" v="557" actId="1076"/>
          <ac:picMkLst>
            <pc:docMk/>
            <pc:sldMk cId="2849312483" sldId="570"/>
            <ac:picMk id="8" creationId="{59E0F2EE-E480-541D-E8E7-5C865B35C88F}"/>
          </ac:picMkLst>
        </pc:picChg>
        <pc:picChg chg="add del mod">
          <ac:chgData name="Isabel Rose Gippo" userId="S::irg9370@ads.northwestern.edu::b10bfe7e-55b9-46dd-9add-2eb52cb66d3b" providerId="AD" clId="Web-{DC570ED0-804E-A0E2-5D93-D510896DFB64}" dt="2023-10-24T14:22:57.108" v="581"/>
          <ac:picMkLst>
            <pc:docMk/>
            <pc:sldMk cId="2849312483" sldId="570"/>
            <ac:picMk id="11" creationId="{3B324708-4939-E4F4-BA17-AB8F89FD8F8A}"/>
          </ac:picMkLst>
        </pc:picChg>
        <pc:picChg chg="add del mod">
          <ac:chgData name="Isabel Rose Gippo" userId="S::irg9370@ads.northwestern.edu::b10bfe7e-55b9-46dd-9add-2eb52cb66d3b" providerId="AD" clId="Web-{DC570ED0-804E-A0E2-5D93-D510896DFB64}" dt="2023-10-24T14:24:02.657" v="623"/>
          <ac:picMkLst>
            <pc:docMk/>
            <pc:sldMk cId="2849312483" sldId="570"/>
            <ac:picMk id="12" creationId="{9F0EA567-DB06-4C7E-2FD2-D021E131A108}"/>
          </ac:picMkLst>
        </pc:picChg>
        <pc:picChg chg="add mod">
          <ac:chgData name="Isabel Rose Gippo" userId="S::irg9370@ads.northwestern.edu::b10bfe7e-55b9-46dd-9add-2eb52cb66d3b" providerId="AD" clId="Web-{DC570ED0-804E-A0E2-5D93-D510896DFB64}" dt="2023-10-24T14:25:12.957" v="624"/>
          <ac:picMkLst>
            <pc:docMk/>
            <pc:sldMk cId="2849312483" sldId="570"/>
            <ac:picMk id="13" creationId="{03BF52CD-31EC-FC46-9A7F-3B257CCAC6A4}"/>
          </ac:picMkLst>
        </pc:picChg>
      </pc:sldChg>
    </pc:docChg>
  </pc:docChgLst>
  <pc:docChgLst>
    <pc:chgData name="Isabel Rose Gippo" userId="S::irg9370@ads.northwestern.edu::b10bfe7e-55b9-46dd-9add-2eb52cb66d3b" providerId="AD" clId="Web-{2F9B0802-2085-E0B0-3887-F6AEBA41C785}"/>
    <pc:docChg chg="addSld delSld modSld">
      <pc:chgData name="Isabel Rose Gippo" userId="S::irg9370@ads.northwestern.edu::b10bfe7e-55b9-46dd-9add-2eb52cb66d3b" providerId="AD" clId="Web-{2F9B0802-2085-E0B0-3887-F6AEBA41C785}" dt="2023-10-27T20:01:53.166" v="22" actId="1076"/>
      <pc:docMkLst>
        <pc:docMk/>
      </pc:docMkLst>
      <pc:sldChg chg="del">
        <pc:chgData name="Isabel Rose Gippo" userId="S::irg9370@ads.northwestern.edu::b10bfe7e-55b9-46dd-9add-2eb52cb66d3b" providerId="AD" clId="Web-{2F9B0802-2085-E0B0-3887-F6AEBA41C785}" dt="2023-10-27T19:58:33.365" v="0"/>
        <pc:sldMkLst>
          <pc:docMk/>
          <pc:sldMk cId="4102962722" sldId="592"/>
        </pc:sldMkLst>
      </pc:sldChg>
      <pc:sldChg chg="del">
        <pc:chgData name="Isabel Rose Gippo" userId="S::irg9370@ads.northwestern.edu::b10bfe7e-55b9-46dd-9add-2eb52cb66d3b" providerId="AD" clId="Web-{2F9B0802-2085-E0B0-3887-F6AEBA41C785}" dt="2023-10-27T20:00:46.790" v="13"/>
        <pc:sldMkLst>
          <pc:docMk/>
          <pc:sldMk cId="761656701" sldId="610"/>
        </pc:sldMkLst>
      </pc:sldChg>
      <pc:sldChg chg="del">
        <pc:chgData name="Isabel Rose Gippo" userId="S::irg9370@ads.northwestern.edu::b10bfe7e-55b9-46dd-9add-2eb52cb66d3b" providerId="AD" clId="Web-{2F9B0802-2085-E0B0-3887-F6AEBA41C785}" dt="2023-10-27T20:00:36.336" v="12"/>
        <pc:sldMkLst>
          <pc:docMk/>
          <pc:sldMk cId="2881039477" sldId="611"/>
        </pc:sldMkLst>
      </pc:sldChg>
      <pc:sldChg chg="del">
        <pc:chgData name="Isabel Rose Gippo" userId="S::irg9370@ads.northwestern.edu::b10bfe7e-55b9-46dd-9add-2eb52cb66d3b" providerId="AD" clId="Web-{2F9B0802-2085-E0B0-3887-F6AEBA41C785}" dt="2023-10-27T20:00:36.321" v="11"/>
        <pc:sldMkLst>
          <pc:docMk/>
          <pc:sldMk cId="2453854057" sldId="612"/>
        </pc:sldMkLst>
      </pc:sldChg>
      <pc:sldChg chg="del">
        <pc:chgData name="Isabel Rose Gippo" userId="S::irg9370@ads.northwestern.edu::b10bfe7e-55b9-46dd-9add-2eb52cb66d3b" providerId="AD" clId="Web-{2F9B0802-2085-E0B0-3887-F6AEBA41C785}" dt="2023-10-27T20:00:36.258" v="10"/>
        <pc:sldMkLst>
          <pc:docMk/>
          <pc:sldMk cId="2100949110" sldId="613"/>
        </pc:sldMkLst>
      </pc:sldChg>
      <pc:sldChg chg="del">
        <pc:chgData name="Isabel Rose Gippo" userId="S::irg9370@ads.northwestern.edu::b10bfe7e-55b9-46dd-9add-2eb52cb66d3b" providerId="AD" clId="Web-{2F9B0802-2085-E0B0-3887-F6AEBA41C785}" dt="2023-10-27T20:00:36.133" v="9"/>
        <pc:sldMkLst>
          <pc:docMk/>
          <pc:sldMk cId="2272124241" sldId="614"/>
        </pc:sldMkLst>
      </pc:sldChg>
      <pc:sldChg chg="add">
        <pc:chgData name="Isabel Rose Gippo" userId="S::irg9370@ads.northwestern.edu::b10bfe7e-55b9-46dd-9add-2eb52cb66d3b" providerId="AD" clId="Web-{2F9B0802-2085-E0B0-3887-F6AEBA41C785}" dt="2023-10-27T19:59:03.818" v="1"/>
        <pc:sldMkLst>
          <pc:docMk/>
          <pc:sldMk cId="1987746666" sldId="623"/>
        </pc:sldMkLst>
      </pc:sldChg>
      <pc:sldChg chg="add addCm">
        <pc:chgData name="Isabel Rose Gippo" userId="S::irg9370@ads.northwestern.edu::b10bfe7e-55b9-46dd-9add-2eb52cb66d3b" providerId="AD" clId="Web-{2F9B0802-2085-E0B0-3887-F6AEBA41C785}" dt="2023-10-27T19:59:45.241" v="4"/>
        <pc:sldMkLst>
          <pc:docMk/>
          <pc:sldMk cId="2500564114" sldId="62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19:59:45.241" v="4"/>
              <pc2:cmMkLst xmlns:pc2="http://schemas.microsoft.com/office/powerpoint/2019/9/main/command">
                <pc:docMk/>
                <pc:sldMk cId="2500564114" sldId="624"/>
                <pc2:cmMk id="{0491C656-E5F5-41C8-B311-8559AF33E6F6}"/>
              </pc2:cmMkLst>
            </pc226:cmChg>
          </p:ext>
        </pc:extLst>
      </pc:sldChg>
      <pc:sldChg chg="add">
        <pc:chgData name="Isabel Rose Gippo" userId="S::irg9370@ads.northwestern.edu::b10bfe7e-55b9-46dd-9add-2eb52cb66d3b" providerId="AD" clId="Web-{2F9B0802-2085-E0B0-3887-F6AEBA41C785}" dt="2023-10-27T19:59:05.678" v="3"/>
        <pc:sldMkLst>
          <pc:docMk/>
          <pc:sldMk cId="924990962" sldId="625"/>
        </pc:sldMkLst>
      </pc:sldChg>
      <pc:sldChg chg="add">
        <pc:chgData name="Isabel Rose Gippo" userId="S::irg9370@ads.northwestern.edu::b10bfe7e-55b9-46dd-9add-2eb52cb66d3b" providerId="AD" clId="Web-{2F9B0802-2085-E0B0-3887-F6AEBA41C785}" dt="2023-10-27T20:00:14.758" v="5"/>
        <pc:sldMkLst>
          <pc:docMk/>
          <pc:sldMk cId="3004443360" sldId="626"/>
        </pc:sldMkLst>
      </pc:sldChg>
      <pc:sldChg chg="add addCm modNotes">
        <pc:chgData name="Isabel Rose Gippo" userId="S::irg9370@ads.northwestern.edu::b10bfe7e-55b9-46dd-9add-2eb52cb66d3b" providerId="AD" clId="Web-{2F9B0802-2085-E0B0-3887-F6AEBA41C785}" dt="2023-10-27T20:01:37.572" v="21"/>
        <pc:sldMkLst>
          <pc:docMk/>
          <pc:sldMk cId="53107998" sldId="627"/>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26.853" v="20"/>
              <pc2:cmMkLst xmlns:pc2="http://schemas.microsoft.com/office/powerpoint/2019/9/main/command">
                <pc:docMk/>
                <pc:sldMk cId="53107998" sldId="627"/>
                <pc2:cmMk id="{C48A6C56-B343-467E-9FD1-86B163B01706}"/>
              </pc2:cmMkLst>
            </pc226:cmChg>
            <pc226:cmChg xmlns:pc226="http://schemas.microsoft.com/office/powerpoint/2022/06/main/command" chg="add">
              <pc226:chgData name="Isabel Rose Gippo" userId="S::irg9370@ads.northwestern.edu::b10bfe7e-55b9-46dd-9add-2eb52cb66d3b" providerId="AD" clId="Web-{2F9B0802-2085-E0B0-3887-F6AEBA41C785}" dt="2023-10-27T20:01:37.572" v="21"/>
              <pc2:cmMkLst xmlns:pc2="http://schemas.microsoft.com/office/powerpoint/2019/9/main/command">
                <pc:docMk/>
                <pc:sldMk cId="53107998" sldId="627"/>
                <pc2:cmMk id="{46D04177-1E1A-4590-B3B8-03DE51A18B3C}"/>
              </pc2:cmMkLst>
            </pc226:cmChg>
          </p:ext>
        </pc:extLst>
      </pc:sldChg>
      <pc:sldChg chg="add addCm">
        <pc:chgData name="Isabel Rose Gippo" userId="S::irg9370@ads.northwestern.edu::b10bfe7e-55b9-46dd-9add-2eb52cb66d3b" providerId="AD" clId="Web-{2F9B0802-2085-E0B0-3887-F6AEBA41C785}" dt="2023-10-27T20:01:16.493" v="18"/>
        <pc:sldMkLst>
          <pc:docMk/>
          <pc:sldMk cId="534784336" sldId="62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2F9B0802-2085-E0B0-3887-F6AEBA41C785}" dt="2023-10-27T20:01:16.493" v="18"/>
              <pc2:cmMkLst xmlns:pc2="http://schemas.microsoft.com/office/powerpoint/2019/9/main/command">
                <pc:docMk/>
                <pc:sldMk cId="534784336" sldId="628"/>
                <pc2:cmMk id="{D2FD4193-EF38-49C6-9875-8E415492E71E}"/>
              </pc2:cmMkLst>
            </pc226:cmChg>
          </p:ext>
        </pc:extLst>
      </pc:sldChg>
      <pc:sldChg chg="modSp add modNotes">
        <pc:chgData name="Isabel Rose Gippo" userId="S::irg9370@ads.northwestern.edu::b10bfe7e-55b9-46dd-9add-2eb52cb66d3b" providerId="AD" clId="Web-{2F9B0802-2085-E0B0-3887-F6AEBA41C785}" dt="2023-10-27T20:01:53.166" v="22" actId="1076"/>
        <pc:sldMkLst>
          <pc:docMk/>
          <pc:sldMk cId="2981412015" sldId="629"/>
        </pc:sldMkLst>
        <pc:spChg chg="mod">
          <ac:chgData name="Isabel Rose Gippo" userId="S::irg9370@ads.northwestern.edu::b10bfe7e-55b9-46dd-9add-2eb52cb66d3b" providerId="AD" clId="Web-{2F9B0802-2085-E0B0-3887-F6AEBA41C785}" dt="2023-10-27T20:01:53.166" v="22" actId="1076"/>
          <ac:spMkLst>
            <pc:docMk/>
            <pc:sldMk cId="2981412015" sldId="629"/>
            <ac:spMk id="17" creationId="{9F30C5B8-4454-3B8D-2126-4A9866DF704E}"/>
          </ac:spMkLst>
        </pc:spChg>
      </pc:sldChg>
    </pc:docChg>
  </pc:docChgLst>
  <pc:docChgLst>
    <pc:chgData name="Isabel Rose Gippo" userId="S::irg9370@ads.northwestern.edu::b10bfe7e-55b9-46dd-9add-2eb52cb66d3b" providerId="AD" clId="Web-{4159E2D1-1878-F778-C779-F53B58D257B9}"/>
    <pc:docChg chg="addSld delSld modSld">
      <pc:chgData name="Isabel Rose Gippo" userId="S::irg9370@ads.northwestern.edu::b10bfe7e-55b9-46dd-9add-2eb52cb66d3b" providerId="AD" clId="Web-{4159E2D1-1878-F778-C779-F53B58D257B9}" dt="2023-10-27T17:39:04.029" v="47" actId="1076"/>
      <pc:docMkLst>
        <pc:docMk/>
      </pc:docMkLst>
      <pc:sldChg chg="del">
        <pc:chgData name="Isabel Rose Gippo" userId="S::irg9370@ads.northwestern.edu::b10bfe7e-55b9-46dd-9add-2eb52cb66d3b" providerId="AD" clId="Web-{4159E2D1-1878-F778-C779-F53B58D257B9}" dt="2023-10-27T17:35:16.904" v="10"/>
        <pc:sldMkLst>
          <pc:docMk/>
          <pc:sldMk cId="3969440120" sldId="593"/>
        </pc:sldMkLst>
      </pc:sldChg>
      <pc:sldChg chg="del">
        <pc:chgData name="Isabel Rose Gippo" userId="S::irg9370@ads.northwestern.edu::b10bfe7e-55b9-46dd-9add-2eb52cb66d3b" providerId="AD" clId="Web-{4159E2D1-1878-F778-C779-F53B58D257B9}" dt="2023-10-27T17:35:13.185" v="9"/>
        <pc:sldMkLst>
          <pc:docMk/>
          <pc:sldMk cId="2412661198" sldId="594"/>
        </pc:sldMkLst>
      </pc:sldChg>
      <pc:sldChg chg="del">
        <pc:chgData name="Isabel Rose Gippo" userId="S::irg9370@ads.northwestern.edu::b10bfe7e-55b9-46dd-9add-2eb52cb66d3b" providerId="AD" clId="Web-{4159E2D1-1878-F778-C779-F53B58D257B9}" dt="2023-10-27T17:35:10.638" v="8"/>
        <pc:sldMkLst>
          <pc:docMk/>
          <pc:sldMk cId="3516145000" sldId="595"/>
        </pc:sldMkLst>
      </pc:sldChg>
      <pc:sldChg chg="del">
        <pc:chgData name="Isabel Rose Gippo" userId="S::irg9370@ads.northwestern.edu::b10bfe7e-55b9-46dd-9add-2eb52cb66d3b" providerId="AD" clId="Web-{4159E2D1-1878-F778-C779-F53B58D257B9}" dt="2023-10-27T17:35:06.920" v="7"/>
        <pc:sldMkLst>
          <pc:docMk/>
          <pc:sldMk cId="2417460478" sldId="596"/>
        </pc:sldMkLst>
      </pc:sldChg>
      <pc:sldChg chg="modSp add">
        <pc:chgData name="Isabel Rose Gippo" userId="S::irg9370@ads.northwestern.edu::b10bfe7e-55b9-46dd-9add-2eb52cb66d3b" providerId="AD" clId="Web-{4159E2D1-1878-F778-C779-F53B58D257B9}" dt="2023-10-27T17:35:02.779" v="6" actId="14100"/>
        <pc:sldMkLst>
          <pc:docMk/>
          <pc:sldMk cId="2628065282" sldId="597"/>
        </pc:sldMkLst>
        <pc:spChg chg="mod">
          <ac:chgData name="Isabel Rose Gippo" userId="S::irg9370@ads.northwestern.edu::b10bfe7e-55b9-46dd-9add-2eb52cb66d3b" providerId="AD" clId="Web-{4159E2D1-1878-F778-C779-F53B58D257B9}" dt="2023-10-27T17:35:02.779" v="6" actId="14100"/>
          <ac:spMkLst>
            <pc:docMk/>
            <pc:sldMk cId="2628065282" sldId="597"/>
            <ac:spMk id="7" creationId="{D7D575A1-5794-5E5A-2C30-51F659D538FF}"/>
          </ac:spMkLst>
        </pc:spChg>
      </pc:sldChg>
      <pc:sldChg chg="add">
        <pc:chgData name="Isabel Rose Gippo" userId="S::irg9370@ads.northwestern.edu::b10bfe7e-55b9-46dd-9add-2eb52cb66d3b" providerId="AD" clId="Web-{4159E2D1-1878-F778-C779-F53B58D257B9}" dt="2023-10-27T17:34:19.138" v="1"/>
        <pc:sldMkLst>
          <pc:docMk/>
          <pc:sldMk cId="1478149357" sldId="598"/>
        </pc:sldMkLst>
      </pc:sldChg>
      <pc:sldChg chg="add">
        <pc:chgData name="Isabel Rose Gippo" userId="S::irg9370@ads.northwestern.edu::b10bfe7e-55b9-46dd-9add-2eb52cb66d3b" providerId="AD" clId="Web-{4159E2D1-1878-F778-C779-F53B58D257B9}" dt="2023-10-27T17:34:48.717" v="2"/>
        <pc:sldMkLst>
          <pc:docMk/>
          <pc:sldMk cId="2470795492" sldId="599"/>
        </pc:sldMkLst>
      </pc:sldChg>
      <pc:sldChg chg="add">
        <pc:chgData name="Isabel Rose Gippo" userId="S::irg9370@ads.northwestern.edu::b10bfe7e-55b9-46dd-9add-2eb52cb66d3b" providerId="AD" clId="Web-{4159E2D1-1878-F778-C779-F53B58D257B9}" dt="2023-10-27T17:34:49.404" v="3"/>
        <pc:sldMkLst>
          <pc:docMk/>
          <pc:sldMk cId="2592767400" sldId="600"/>
        </pc:sldMkLst>
      </pc:sldChg>
      <pc:sldChg chg="add">
        <pc:chgData name="Isabel Rose Gippo" userId="S::irg9370@ads.northwestern.edu::b10bfe7e-55b9-46dd-9add-2eb52cb66d3b" providerId="AD" clId="Web-{4159E2D1-1878-F778-C779-F53B58D257B9}" dt="2023-10-27T17:34:50.092" v="4"/>
        <pc:sldMkLst>
          <pc:docMk/>
          <pc:sldMk cId="3023536423" sldId="601"/>
        </pc:sldMkLst>
      </pc:sldChg>
      <pc:sldChg chg="add">
        <pc:chgData name="Isabel Rose Gippo" userId="S::irg9370@ads.northwestern.edu::b10bfe7e-55b9-46dd-9add-2eb52cb66d3b" providerId="AD" clId="Web-{4159E2D1-1878-F778-C779-F53B58D257B9}" dt="2023-10-27T17:34:50.779" v="5"/>
        <pc:sldMkLst>
          <pc:docMk/>
          <pc:sldMk cId="1011826885" sldId="602"/>
        </pc:sldMkLst>
      </pc:sldChg>
      <pc:sldChg chg="add">
        <pc:chgData name="Isabel Rose Gippo" userId="S::irg9370@ads.northwestern.edu::b10bfe7e-55b9-46dd-9add-2eb52cb66d3b" providerId="AD" clId="Web-{4159E2D1-1878-F778-C779-F53B58D257B9}" dt="2023-10-27T17:35:26.013" v="11"/>
        <pc:sldMkLst>
          <pc:docMk/>
          <pc:sldMk cId="600547746" sldId="603"/>
        </pc:sldMkLst>
      </pc:sldChg>
      <pc:sldChg chg="add addCm">
        <pc:chgData name="Isabel Rose Gippo" userId="S::irg9370@ads.northwestern.edu::b10bfe7e-55b9-46dd-9add-2eb52cb66d3b" providerId="AD" clId="Web-{4159E2D1-1878-F778-C779-F53B58D257B9}" dt="2023-10-27T17:36:25.967" v="14"/>
        <pc:sldMkLst>
          <pc:docMk/>
          <pc:sldMk cId="3355787309" sldId="604"/>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4159E2D1-1878-F778-C779-F53B58D257B9}" dt="2023-10-27T17:36:25.967" v="14"/>
              <pc2:cmMkLst xmlns:pc2="http://schemas.microsoft.com/office/powerpoint/2019/9/main/command">
                <pc:docMk/>
                <pc:sldMk cId="3355787309" sldId="604"/>
                <pc2:cmMk id="{5635E0A6-AC69-4FB6-B7FE-9DA078BBCAEE}"/>
              </pc2:cmMkLst>
            </pc226:cmChg>
          </p:ext>
        </pc:extLst>
      </pc:sldChg>
      <pc:sldChg chg="add">
        <pc:chgData name="Isabel Rose Gippo" userId="S::irg9370@ads.northwestern.edu::b10bfe7e-55b9-46dd-9add-2eb52cb66d3b" providerId="AD" clId="Web-{4159E2D1-1878-F778-C779-F53B58D257B9}" dt="2023-10-27T17:35:27.435" v="13"/>
        <pc:sldMkLst>
          <pc:docMk/>
          <pc:sldMk cId="1452140663" sldId="605"/>
        </pc:sldMkLst>
      </pc:sldChg>
      <pc:sldChg chg="add">
        <pc:chgData name="Isabel Rose Gippo" userId="S::irg9370@ads.northwestern.edu::b10bfe7e-55b9-46dd-9add-2eb52cb66d3b" providerId="AD" clId="Web-{4159E2D1-1878-F778-C779-F53B58D257B9}" dt="2023-10-27T17:36:48.201" v="15"/>
        <pc:sldMkLst>
          <pc:docMk/>
          <pc:sldMk cId="1937423064" sldId="606"/>
        </pc:sldMkLst>
      </pc:sldChg>
      <pc:sldChg chg="add">
        <pc:chgData name="Isabel Rose Gippo" userId="S::irg9370@ads.northwestern.edu::b10bfe7e-55b9-46dd-9add-2eb52cb66d3b" providerId="AD" clId="Web-{4159E2D1-1878-F778-C779-F53B58D257B9}" dt="2023-10-27T17:36:48.920" v="16"/>
        <pc:sldMkLst>
          <pc:docMk/>
          <pc:sldMk cId="3774016129" sldId="607"/>
        </pc:sldMkLst>
      </pc:sldChg>
      <pc:sldChg chg="add">
        <pc:chgData name="Isabel Rose Gippo" userId="S::irg9370@ads.northwestern.edu::b10bfe7e-55b9-46dd-9add-2eb52cb66d3b" providerId="AD" clId="Web-{4159E2D1-1878-F778-C779-F53B58D257B9}" dt="2023-10-27T17:36:49.623" v="17"/>
        <pc:sldMkLst>
          <pc:docMk/>
          <pc:sldMk cId="3226012611" sldId="608"/>
        </pc:sldMkLst>
      </pc:sldChg>
      <pc:sldChg chg="add">
        <pc:chgData name="Isabel Rose Gippo" userId="S::irg9370@ads.northwestern.edu::b10bfe7e-55b9-46dd-9add-2eb52cb66d3b" providerId="AD" clId="Web-{4159E2D1-1878-F778-C779-F53B58D257B9}" dt="2023-10-27T17:36:50.295" v="18"/>
        <pc:sldMkLst>
          <pc:docMk/>
          <pc:sldMk cId="2003568291" sldId="609"/>
        </pc:sldMkLst>
      </pc:sldChg>
      <pc:sldChg chg="add replId modNotes">
        <pc:chgData name="Isabel Rose Gippo" userId="S::irg9370@ads.northwestern.edu::b10bfe7e-55b9-46dd-9add-2eb52cb66d3b" providerId="AD" clId="Web-{4159E2D1-1878-F778-C779-F53B58D257B9}" dt="2023-10-27T17:37:46.435" v="26"/>
        <pc:sldMkLst>
          <pc:docMk/>
          <pc:sldMk cId="761656701" sldId="610"/>
        </pc:sldMkLst>
      </pc:sldChg>
      <pc:sldChg chg="add replId modNotes">
        <pc:chgData name="Isabel Rose Gippo" userId="S::irg9370@ads.northwestern.edu::b10bfe7e-55b9-46dd-9add-2eb52cb66d3b" providerId="AD" clId="Web-{4159E2D1-1878-F778-C779-F53B58D257B9}" dt="2023-10-27T17:38:01.529" v="31"/>
        <pc:sldMkLst>
          <pc:docMk/>
          <pc:sldMk cId="2881039477" sldId="611"/>
        </pc:sldMkLst>
      </pc:sldChg>
      <pc:sldChg chg="new modNotes">
        <pc:chgData name="Isabel Rose Gippo" userId="S::irg9370@ads.northwestern.edu::b10bfe7e-55b9-46dd-9add-2eb52cb66d3b" providerId="AD" clId="Web-{4159E2D1-1878-F778-C779-F53B58D257B9}" dt="2023-10-27T17:38:59.920" v="43"/>
        <pc:sldMkLst>
          <pc:docMk/>
          <pc:sldMk cId="2453854057" sldId="612"/>
        </pc:sldMkLst>
      </pc:sldChg>
      <pc:sldChg chg="new modNotes">
        <pc:chgData name="Isabel Rose Gippo" userId="S::irg9370@ads.northwestern.edu::b10bfe7e-55b9-46dd-9add-2eb52cb66d3b" providerId="AD" clId="Web-{4159E2D1-1878-F778-C779-F53B58D257B9}" dt="2023-10-27T17:38:25.201" v="40"/>
        <pc:sldMkLst>
          <pc:docMk/>
          <pc:sldMk cId="2100949110" sldId="613"/>
        </pc:sldMkLst>
      </pc:sldChg>
      <pc:sldChg chg="modSp new modNotes">
        <pc:chgData name="Isabel Rose Gippo" userId="S::irg9370@ads.northwestern.edu::b10bfe7e-55b9-46dd-9add-2eb52cb66d3b" providerId="AD" clId="Web-{4159E2D1-1878-F778-C779-F53B58D257B9}" dt="2023-10-27T17:39:04.029" v="47" actId="1076"/>
        <pc:sldMkLst>
          <pc:docMk/>
          <pc:sldMk cId="2272124241" sldId="614"/>
        </pc:sldMkLst>
        <pc:spChg chg="mod">
          <ac:chgData name="Isabel Rose Gippo" userId="S::irg9370@ads.northwestern.edu::b10bfe7e-55b9-46dd-9add-2eb52cb66d3b" providerId="AD" clId="Web-{4159E2D1-1878-F778-C779-F53B58D257B9}" dt="2023-10-27T17:39:04.029" v="47" actId="1076"/>
          <ac:spMkLst>
            <pc:docMk/>
            <pc:sldMk cId="2272124241" sldId="614"/>
            <ac:spMk id="5" creationId="{C0418939-1E64-B1E2-A591-B2119343AE0C}"/>
          </ac:spMkLst>
        </pc:spChg>
      </pc:sldChg>
    </pc:docChg>
  </pc:docChgLst>
  <pc:docChgLst>
    <pc:chgData name="Eileen Fleming Suse" userId="S::efs3844@ads.northwestern.edu::725c94ef-d051-42d7-9d33-8572765d592b" providerId="AD" clId="Web-{8544FFE2-8133-585B-66CC-2C8177C23087}"/>
    <pc:docChg chg="addSld delSld modSld sldOrd">
      <pc:chgData name="Eileen Fleming Suse" userId="S::efs3844@ads.northwestern.edu::725c94ef-d051-42d7-9d33-8572765d592b" providerId="AD" clId="Web-{8544FFE2-8133-585B-66CC-2C8177C23087}" dt="2023-11-18T01:37:30.204" v="360"/>
      <pc:docMkLst>
        <pc:docMk/>
      </pc:docMkLst>
      <pc:sldChg chg="modSp">
        <pc:chgData name="Eileen Fleming Suse" userId="S::efs3844@ads.northwestern.edu::725c94ef-d051-42d7-9d33-8572765d592b" providerId="AD" clId="Web-{8544FFE2-8133-585B-66CC-2C8177C23087}" dt="2023-11-17T18:36:52.933" v="30" actId="20577"/>
        <pc:sldMkLst>
          <pc:docMk/>
          <pc:sldMk cId="4044691067" sldId="283"/>
        </pc:sldMkLst>
        <pc:spChg chg="mod">
          <ac:chgData name="Eileen Fleming Suse" userId="S::efs3844@ads.northwestern.edu::725c94ef-d051-42d7-9d33-8572765d592b" providerId="AD" clId="Web-{8544FFE2-8133-585B-66CC-2C8177C23087}" dt="2023-11-17T18:36:52.933" v="30" actId="20577"/>
          <ac:spMkLst>
            <pc:docMk/>
            <pc:sldMk cId="4044691067" sldId="283"/>
            <ac:spMk id="16387" creationId="{00000000-0000-0000-0000-000000000000}"/>
          </ac:spMkLst>
        </pc:spChg>
      </pc:sldChg>
      <pc:sldChg chg="modSp">
        <pc:chgData name="Eileen Fleming Suse" userId="S::efs3844@ads.northwestern.edu::725c94ef-d051-42d7-9d33-8572765d592b" providerId="AD" clId="Web-{8544FFE2-8133-585B-66CC-2C8177C23087}" dt="2023-11-17T18:24:59.947" v="11" actId="20577"/>
        <pc:sldMkLst>
          <pc:docMk/>
          <pc:sldMk cId="1036043289" sldId="546"/>
        </pc:sldMkLst>
        <pc:spChg chg="mod">
          <ac:chgData name="Eileen Fleming Suse" userId="S::efs3844@ads.northwestern.edu::725c94ef-d051-42d7-9d33-8572765d592b" providerId="AD" clId="Web-{8544FFE2-8133-585B-66CC-2C8177C23087}" dt="2023-11-17T18:24:59.947" v="11" actId="20577"/>
          <ac:spMkLst>
            <pc:docMk/>
            <pc:sldMk cId="1036043289" sldId="546"/>
            <ac:spMk id="2" creationId="{67E16CF5-47C8-BEAD-25F8-81514DC0AF8B}"/>
          </ac:spMkLst>
        </pc:spChg>
      </pc:sldChg>
      <pc:sldChg chg="modSp">
        <pc:chgData name="Eileen Fleming Suse" userId="S::efs3844@ads.northwestern.edu::725c94ef-d051-42d7-9d33-8572765d592b" providerId="AD" clId="Web-{8544FFE2-8133-585B-66CC-2C8177C23087}" dt="2023-11-17T20:47:30.318" v="211" actId="20577"/>
        <pc:sldMkLst>
          <pc:docMk/>
          <pc:sldMk cId="714682852" sldId="552"/>
        </pc:sldMkLst>
        <pc:spChg chg="mod">
          <ac:chgData name="Eileen Fleming Suse" userId="S::efs3844@ads.northwestern.edu::725c94ef-d051-42d7-9d33-8572765d592b" providerId="AD" clId="Web-{8544FFE2-8133-585B-66CC-2C8177C23087}" dt="2023-11-17T20:47:04.161" v="210"/>
          <ac:spMkLst>
            <pc:docMk/>
            <pc:sldMk cId="714682852" sldId="552"/>
            <ac:spMk id="2" creationId="{966FAC69-62AA-D40E-C4BD-DAD5BF599C69}"/>
          </ac:spMkLst>
        </pc:spChg>
        <pc:spChg chg="mod">
          <ac:chgData name="Eileen Fleming Suse" userId="S::efs3844@ads.northwestern.edu::725c94ef-d051-42d7-9d33-8572765d592b" providerId="AD" clId="Web-{8544FFE2-8133-585B-66CC-2C8177C23087}" dt="2023-11-17T20:47:30.318" v="211" actId="20577"/>
          <ac:spMkLst>
            <pc:docMk/>
            <pc:sldMk cId="714682852" sldId="552"/>
            <ac:spMk id="35" creationId="{53BCC135-7316-5956-0C96-6C92A1A248BB}"/>
          </ac:spMkLst>
        </pc:spChg>
      </pc:sldChg>
      <pc:sldChg chg="del">
        <pc:chgData name="Eileen Fleming Suse" userId="S::efs3844@ads.northwestern.edu::725c94ef-d051-42d7-9d33-8572765d592b" providerId="AD" clId="Web-{8544FFE2-8133-585B-66CC-2C8177C23087}" dt="2023-11-17T18:20:18.784" v="4"/>
        <pc:sldMkLst>
          <pc:docMk/>
          <pc:sldMk cId="3536510335" sldId="553"/>
        </pc:sldMkLst>
      </pc:sldChg>
      <pc:sldChg chg="del">
        <pc:chgData name="Eileen Fleming Suse" userId="S::efs3844@ads.northwestern.edu::725c94ef-d051-42d7-9d33-8572765d592b" providerId="AD" clId="Web-{8544FFE2-8133-585B-66CC-2C8177C23087}" dt="2023-11-17T18:20:04.909" v="3"/>
        <pc:sldMkLst>
          <pc:docMk/>
          <pc:sldMk cId="1231844700" sldId="554"/>
        </pc:sldMkLst>
      </pc:sldChg>
      <pc:sldChg chg="del">
        <pc:chgData name="Eileen Fleming Suse" userId="S::efs3844@ads.northwestern.edu::725c94ef-d051-42d7-9d33-8572765d592b" providerId="AD" clId="Web-{8544FFE2-8133-585B-66CC-2C8177C23087}" dt="2023-11-17T18:28:09.764" v="14"/>
        <pc:sldMkLst>
          <pc:docMk/>
          <pc:sldMk cId="2564870475" sldId="566"/>
        </pc:sldMkLst>
      </pc:sldChg>
      <pc:sldChg chg="del">
        <pc:chgData name="Eileen Fleming Suse" userId="S::efs3844@ads.northwestern.edu::725c94ef-d051-42d7-9d33-8572765d592b" providerId="AD" clId="Web-{8544FFE2-8133-585B-66CC-2C8177C23087}" dt="2023-11-17T18:27:58.827" v="13"/>
        <pc:sldMkLst>
          <pc:docMk/>
          <pc:sldMk cId="3870927286" sldId="583"/>
        </pc:sldMkLst>
      </pc:sldChg>
      <pc:sldChg chg="del">
        <pc:chgData name="Eileen Fleming Suse" userId="S::efs3844@ads.northwestern.edu::725c94ef-d051-42d7-9d33-8572765d592b" providerId="AD" clId="Web-{8544FFE2-8133-585B-66CC-2C8177C23087}" dt="2023-11-17T18:28:24.202" v="15"/>
        <pc:sldMkLst>
          <pc:docMk/>
          <pc:sldMk cId="1210022179" sldId="617"/>
        </pc:sldMkLst>
      </pc:sldChg>
      <pc:sldChg chg="ord">
        <pc:chgData name="Eileen Fleming Suse" userId="S::efs3844@ads.northwestern.edu::725c94ef-d051-42d7-9d33-8572765d592b" providerId="AD" clId="Web-{8544FFE2-8133-585B-66CC-2C8177C23087}" dt="2023-11-17T18:27:48.029" v="12"/>
        <pc:sldMkLst>
          <pc:docMk/>
          <pc:sldMk cId="3850125703" sldId="622"/>
        </pc:sldMkLst>
      </pc:sldChg>
      <pc:sldChg chg="del">
        <pc:chgData name="Eileen Fleming Suse" userId="S::efs3844@ads.northwestern.edu::725c94ef-d051-42d7-9d33-8572765d592b" providerId="AD" clId="Web-{8544FFE2-8133-585B-66CC-2C8177C23087}" dt="2023-11-17T18:28:24.483" v="16"/>
        <pc:sldMkLst>
          <pc:docMk/>
          <pc:sldMk cId="2561278274" sldId="630"/>
        </pc:sldMkLst>
      </pc:sldChg>
      <pc:sldChg chg="del">
        <pc:chgData name="Eileen Fleming Suse" userId="S::efs3844@ads.northwestern.edu::725c94ef-d051-42d7-9d33-8572765d592b" providerId="AD" clId="Web-{8544FFE2-8133-585B-66CC-2C8177C23087}" dt="2023-11-17T18:28:24.499" v="17"/>
        <pc:sldMkLst>
          <pc:docMk/>
          <pc:sldMk cId="488873692" sldId="631"/>
        </pc:sldMkLst>
      </pc:sldChg>
      <pc:sldChg chg="del">
        <pc:chgData name="Eileen Fleming Suse" userId="S::efs3844@ads.northwestern.edu::725c94ef-d051-42d7-9d33-8572765d592b" providerId="AD" clId="Web-{8544FFE2-8133-585B-66CC-2C8177C23087}" dt="2023-11-17T18:28:45.562" v="18"/>
        <pc:sldMkLst>
          <pc:docMk/>
          <pc:sldMk cId="3115055849" sldId="632"/>
        </pc:sldMkLst>
      </pc:sldChg>
      <pc:sldChg chg="add del">
        <pc:chgData name="Eileen Fleming Suse" userId="S::efs3844@ads.northwestern.edu::725c94ef-d051-42d7-9d33-8572765d592b" providerId="AD" clId="Web-{8544FFE2-8133-585B-66CC-2C8177C23087}" dt="2023-11-17T18:31:41.160" v="22"/>
        <pc:sldMkLst>
          <pc:docMk/>
          <pc:sldMk cId="3999708931" sldId="633"/>
        </pc:sldMkLst>
      </pc:sldChg>
      <pc:sldChg chg="modSp del modNotes">
        <pc:chgData name="Eileen Fleming Suse" userId="S::efs3844@ads.northwestern.edu::725c94ef-d051-42d7-9d33-8572765d592b" providerId="AD" clId="Web-{8544FFE2-8133-585B-66CC-2C8177C23087}" dt="2023-11-17T20:56:58.976" v="246"/>
        <pc:sldMkLst>
          <pc:docMk/>
          <pc:sldMk cId="3123563290" sldId="656"/>
        </pc:sldMkLst>
        <pc:spChg chg="mod">
          <ac:chgData name="Eileen Fleming Suse" userId="S::efs3844@ads.northwestern.edu::725c94ef-d051-42d7-9d33-8572765d592b" providerId="AD" clId="Web-{8544FFE2-8133-585B-66CC-2C8177C23087}" dt="2023-11-17T20:56:22.301" v="227" actId="20577"/>
          <ac:spMkLst>
            <pc:docMk/>
            <pc:sldMk cId="3123563290" sldId="656"/>
            <ac:spMk id="3" creationId="{00000000-0000-0000-0000-000000000000}"/>
          </ac:spMkLst>
        </pc:spChg>
      </pc:sldChg>
      <pc:sldChg chg="del mod modShow">
        <pc:chgData name="Eileen Fleming Suse" userId="S::efs3844@ads.northwestern.edu::725c94ef-d051-42d7-9d33-8572765d592b" providerId="AD" clId="Web-{8544FFE2-8133-585B-66CC-2C8177C23087}" dt="2023-11-17T20:47:52.678" v="212"/>
        <pc:sldMkLst>
          <pc:docMk/>
          <pc:sldMk cId="2276722899" sldId="657"/>
        </pc:sldMkLst>
      </pc:sldChg>
      <pc:sldChg chg="del mod modShow">
        <pc:chgData name="Eileen Fleming Suse" userId="S::efs3844@ads.northwestern.edu::725c94ef-d051-42d7-9d33-8572765d592b" providerId="AD" clId="Web-{8544FFE2-8133-585B-66CC-2C8177C23087}" dt="2023-11-17T20:47:53.193" v="213"/>
        <pc:sldMkLst>
          <pc:docMk/>
          <pc:sldMk cId="198744726" sldId="658"/>
        </pc:sldMkLst>
      </pc:sldChg>
      <pc:sldChg chg="del modNotes">
        <pc:chgData name="Eileen Fleming Suse" userId="S::efs3844@ads.northwestern.edu::725c94ef-d051-42d7-9d33-8572765d592b" providerId="AD" clId="Web-{8544FFE2-8133-585B-66CC-2C8177C23087}" dt="2023-11-17T20:56:58.976" v="245"/>
        <pc:sldMkLst>
          <pc:docMk/>
          <pc:sldMk cId="3367933567" sldId="659"/>
        </pc:sldMkLst>
      </pc:sldChg>
      <pc:sldChg chg="modSp del modNotes">
        <pc:chgData name="Eileen Fleming Suse" userId="S::efs3844@ads.northwestern.edu::725c94ef-d051-42d7-9d33-8572765d592b" providerId="AD" clId="Web-{8544FFE2-8133-585B-66CC-2C8177C23087}" dt="2023-11-17T20:56:58.959" v="244"/>
        <pc:sldMkLst>
          <pc:docMk/>
          <pc:sldMk cId="1238318588" sldId="660"/>
        </pc:sldMkLst>
        <pc:spChg chg="mod">
          <ac:chgData name="Eileen Fleming Suse" userId="S::efs3844@ads.northwestern.edu::725c94ef-d051-42d7-9d33-8572765d592b" providerId="AD" clId="Web-{8544FFE2-8133-585B-66CC-2C8177C23087}" dt="2023-11-17T18:45:38.931" v="34" actId="1076"/>
          <ac:spMkLst>
            <pc:docMk/>
            <pc:sldMk cId="1238318588" sldId="660"/>
            <ac:spMk id="7" creationId="{EAD90045-A731-42F5-ED3E-D5AE61B97B24}"/>
          </ac:spMkLst>
        </pc:spChg>
        <pc:spChg chg="mod">
          <ac:chgData name="Eileen Fleming Suse" userId="S::efs3844@ads.northwestern.edu::725c94ef-d051-42d7-9d33-8572765d592b" providerId="AD" clId="Web-{8544FFE2-8133-585B-66CC-2C8177C23087}" dt="2023-11-17T18:46:17.994" v="38" actId="1076"/>
          <ac:spMkLst>
            <pc:docMk/>
            <pc:sldMk cId="1238318588" sldId="660"/>
            <ac:spMk id="16386" creationId="{00000000-0000-0000-0000-000000000000}"/>
          </ac:spMkLst>
        </pc:spChg>
      </pc:sldChg>
      <pc:sldChg chg="del mod modShow">
        <pc:chgData name="Eileen Fleming Suse" userId="S::efs3844@ads.northwestern.edu::725c94ef-d051-42d7-9d33-8572765d592b" providerId="AD" clId="Web-{8544FFE2-8133-585B-66CC-2C8177C23087}" dt="2023-11-17T20:48:21.757" v="219"/>
        <pc:sldMkLst>
          <pc:docMk/>
          <pc:sldMk cId="3968172727" sldId="661"/>
        </pc:sldMkLst>
      </pc:sldChg>
      <pc:sldChg chg="del">
        <pc:chgData name="Eileen Fleming Suse" userId="S::efs3844@ads.northwestern.edu::725c94ef-d051-42d7-9d33-8572765d592b" providerId="AD" clId="Web-{8544FFE2-8133-585B-66CC-2C8177C23087}" dt="2023-11-17T20:56:58.959" v="243"/>
        <pc:sldMkLst>
          <pc:docMk/>
          <pc:sldMk cId="1157288213" sldId="662"/>
        </pc:sldMkLst>
      </pc:sldChg>
      <pc:sldChg chg="del">
        <pc:chgData name="Eileen Fleming Suse" userId="S::efs3844@ads.northwestern.edu::725c94ef-d051-42d7-9d33-8572765d592b" providerId="AD" clId="Web-{8544FFE2-8133-585B-66CC-2C8177C23087}" dt="2023-11-17T20:56:58.959" v="242"/>
        <pc:sldMkLst>
          <pc:docMk/>
          <pc:sldMk cId="2333012131" sldId="663"/>
        </pc:sldMkLst>
      </pc:sldChg>
      <pc:sldChg chg="del">
        <pc:chgData name="Eileen Fleming Suse" userId="S::efs3844@ads.northwestern.edu::725c94ef-d051-42d7-9d33-8572765d592b" providerId="AD" clId="Web-{8544FFE2-8133-585B-66CC-2C8177C23087}" dt="2023-11-17T20:56:58.943" v="240"/>
        <pc:sldMkLst>
          <pc:docMk/>
          <pc:sldMk cId="2985803891" sldId="664"/>
        </pc:sldMkLst>
      </pc:sldChg>
      <pc:sldChg chg="del">
        <pc:chgData name="Eileen Fleming Suse" userId="S::efs3844@ads.northwestern.edu::725c94ef-d051-42d7-9d33-8572765d592b" providerId="AD" clId="Web-{8544FFE2-8133-585B-66CC-2C8177C23087}" dt="2023-11-17T20:56:58.943" v="239"/>
        <pc:sldMkLst>
          <pc:docMk/>
          <pc:sldMk cId="1562630454" sldId="665"/>
        </pc:sldMkLst>
      </pc:sldChg>
      <pc:sldChg chg="del">
        <pc:chgData name="Eileen Fleming Suse" userId="S::efs3844@ads.northwestern.edu::725c94ef-d051-42d7-9d33-8572765d592b" providerId="AD" clId="Web-{8544FFE2-8133-585B-66CC-2C8177C23087}" dt="2023-11-17T20:56:58.943" v="238"/>
        <pc:sldMkLst>
          <pc:docMk/>
          <pc:sldMk cId="1313773042" sldId="666"/>
        </pc:sldMkLst>
      </pc:sldChg>
      <pc:sldChg chg="del">
        <pc:chgData name="Eileen Fleming Suse" userId="S::efs3844@ads.northwestern.edu::725c94ef-d051-42d7-9d33-8572765d592b" providerId="AD" clId="Web-{8544FFE2-8133-585B-66CC-2C8177C23087}" dt="2023-11-17T20:56:58.927" v="237"/>
        <pc:sldMkLst>
          <pc:docMk/>
          <pc:sldMk cId="2764453072" sldId="667"/>
        </pc:sldMkLst>
      </pc:sldChg>
      <pc:sldChg chg="del">
        <pc:chgData name="Eileen Fleming Suse" userId="S::efs3844@ads.northwestern.edu::725c94ef-d051-42d7-9d33-8572765d592b" providerId="AD" clId="Web-{8544FFE2-8133-585B-66CC-2C8177C23087}" dt="2023-11-17T20:56:58.927" v="236"/>
        <pc:sldMkLst>
          <pc:docMk/>
          <pc:sldMk cId="2638397019" sldId="668"/>
        </pc:sldMkLst>
      </pc:sldChg>
      <pc:sldChg chg="del">
        <pc:chgData name="Eileen Fleming Suse" userId="S::efs3844@ads.northwestern.edu::725c94ef-d051-42d7-9d33-8572765d592b" providerId="AD" clId="Web-{8544FFE2-8133-585B-66CC-2C8177C23087}" dt="2023-11-17T20:56:58.927" v="235"/>
        <pc:sldMkLst>
          <pc:docMk/>
          <pc:sldMk cId="1640072512" sldId="669"/>
        </pc:sldMkLst>
      </pc:sldChg>
      <pc:sldChg chg="del">
        <pc:chgData name="Eileen Fleming Suse" userId="S::efs3844@ads.northwestern.edu::725c94ef-d051-42d7-9d33-8572765d592b" providerId="AD" clId="Web-{8544FFE2-8133-585B-66CC-2C8177C23087}" dt="2023-11-17T20:56:58.927" v="234"/>
        <pc:sldMkLst>
          <pc:docMk/>
          <pc:sldMk cId="3549628686" sldId="670"/>
        </pc:sldMkLst>
      </pc:sldChg>
      <pc:sldChg chg="del">
        <pc:chgData name="Eileen Fleming Suse" userId="S::efs3844@ads.northwestern.edu::725c94ef-d051-42d7-9d33-8572765d592b" providerId="AD" clId="Web-{8544FFE2-8133-585B-66CC-2C8177C23087}" dt="2023-11-17T20:56:58.927" v="233"/>
        <pc:sldMkLst>
          <pc:docMk/>
          <pc:sldMk cId="3419646886" sldId="671"/>
        </pc:sldMkLst>
      </pc:sldChg>
      <pc:sldChg chg="del">
        <pc:chgData name="Eileen Fleming Suse" userId="S::efs3844@ads.northwestern.edu::725c94ef-d051-42d7-9d33-8572765d592b" providerId="AD" clId="Web-{8544FFE2-8133-585B-66CC-2C8177C23087}" dt="2023-11-17T20:56:58.912" v="232"/>
        <pc:sldMkLst>
          <pc:docMk/>
          <pc:sldMk cId="121376505" sldId="672"/>
        </pc:sldMkLst>
      </pc:sldChg>
      <pc:sldChg chg="del">
        <pc:chgData name="Eileen Fleming Suse" userId="S::efs3844@ads.northwestern.edu::725c94ef-d051-42d7-9d33-8572765d592b" providerId="AD" clId="Web-{8544FFE2-8133-585B-66CC-2C8177C23087}" dt="2023-11-17T20:56:58.912" v="231"/>
        <pc:sldMkLst>
          <pc:docMk/>
          <pc:sldMk cId="4246233696" sldId="673"/>
        </pc:sldMkLst>
      </pc:sldChg>
      <pc:sldChg chg="del ord">
        <pc:chgData name="Eileen Fleming Suse" userId="S::efs3844@ads.northwestern.edu::725c94ef-d051-42d7-9d33-8572765d592b" providerId="AD" clId="Web-{8544FFE2-8133-585B-66CC-2C8177C23087}" dt="2023-11-17T20:56:58.943" v="241"/>
        <pc:sldMkLst>
          <pc:docMk/>
          <pc:sldMk cId="3562395065" sldId="674"/>
        </pc:sldMkLst>
      </pc:sldChg>
      <pc:sldChg chg="del">
        <pc:chgData name="Eileen Fleming Suse" userId="S::efs3844@ads.northwestern.edu::725c94ef-d051-42d7-9d33-8572765d592b" providerId="AD" clId="Web-{8544FFE2-8133-585B-66CC-2C8177C23087}" dt="2023-11-17T20:56:58.912" v="230"/>
        <pc:sldMkLst>
          <pc:docMk/>
          <pc:sldMk cId="3537511129" sldId="675"/>
        </pc:sldMkLst>
      </pc:sldChg>
      <pc:sldChg chg="del">
        <pc:chgData name="Eileen Fleming Suse" userId="S::efs3844@ads.northwestern.edu::725c94ef-d051-42d7-9d33-8572765d592b" providerId="AD" clId="Web-{8544FFE2-8133-585B-66CC-2C8177C23087}" dt="2023-11-17T20:56:58.912" v="229"/>
        <pc:sldMkLst>
          <pc:docMk/>
          <pc:sldMk cId="928134893" sldId="676"/>
        </pc:sldMkLst>
      </pc:sldChg>
      <pc:sldChg chg="del">
        <pc:chgData name="Eileen Fleming Suse" userId="S::efs3844@ads.northwestern.edu::725c94ef-d051-42d7-9d33-8572765d592b" providerId="AD" clId="Web-{8544FFE2-8133-585B-66CC-2C8177C23087}" dt="2023-11-17T20:56:58.896" v="228"/>
        <pc:sldMkLst>
          <pc:docMk/>
          <pc:sldMk cId="1611570233" sldId="677"/>
        </pc:sldMkLst>
      </pc:sldChg>
      <pc:sldChg chg="modSp">
        <pc:chgData name="Eileen Fleming Suse" userId="S::efs3844@ads.northwestern.edu::725c94ef-d051-42d7-9d33-8572765d592b" providerId="AD" clId="Web-{8544FFE2-8133-585B-66CC-2C8177C23087}" dt="2023-11-17T18:35:02.603" v="25" actId="20577"/>
        <pc:sldMkLst>
          <pc:docMk/>
          <pc:sldMk cId="3336998141" sldId="681"/>
        </pc:sldMkLst>
        <pc:spChg chg="mod">
          <ac:chgData name="Eileen Fleming Suse" userId="S::efs3844@ads.northwestern.edu::725c94ef-d051-42d7-9d33-8572765d592b" providerId="AD" clId="Web-{8544FFE2-8133-585B-66CC-2C8177C23087}" dt="2023-11-17T18:35:02.603" v="25" actId="20577"/>
          <ac:spMkLst>
            <pc:docMk/>
            <pc:sldMk cId="3336998141" sldId="681"/>
            <ac:spMk id="3" creationId="{00000000-0000-0000-0000-000000000000}"/>
          </ac:spMkLst>
        </pc:spChg>
      </pc:sldChg>
      <pc:sldChg chg="addSp delSp modSp new mod ord setBg">
        <pc:chgData name="Eileen Fleming Suse" userId="S::efs3844@ads.northwestern.edu::725c94ef-d051-42d7-9d33-8572765d592b" providerId="AD" clId="Web-{8544FFE2-8133-585B-66CC-2C8177C23087}" dt="2023-11-17T20:46:53.442" v="209"/>
        <pc:sldMkLst>
          <pc:docMk/>
          <pc:sldMk cId="3080095507" sldId="703"/>
        </pc:sldMkLst>
        <pc:spChg chg="del mod">
          <ac:chgData name="Eileen Fleming Suse" userId="S::efs3844@ads.northwestern.edu::725c94ef-d051-42d7-9d33-8572765d592b" providerId="AD" clId="Web-{8544FFE2-8133-585B-66CC-2C8177C23087}" dt="2023-11-17T20:38:23.552" v="165"/>
          <ac:spMkLst>
            <pc:docMk/>
            <pc:sldMk cId="3080095507" sldId="703"/>
            <ac:spMk id="2" creationId="{6BD83CA6-57D1-222F-83DA-E2A766AEDE89}"/>
          </ac:spMkLst>
        </pc:spChg>
        <pc:spChg chg="del">
          <ac:chgData name="Eileen Fleming Suse" userId="S::efs3844@ads.northwestern.edu::725c94ef-d051-42d7-9d33-8572765d592b" providerId="AD" clId="Web-{8544FFE2-8133-585B-66CC-2C8177C23087}" dt="2023-11-17T20:38:12.130" v="163"/>
          <ac:spMkLst>
            <pc:docMk/>
            <pc:sldMk cId="3080095507" sldId="703"/>
            <ac:spMk id="3" creationId="{9EA76214-B4BA-0A87-AD4C-D257DCE85CE3}"/>
          </ac:spMkLst>
        </pc:spChg>
        <pc:spChg chg="mod ord">
          <ac:chgData name="Eileen Fleming Suse" userId="S::efs3844@ads.northwestern.edu::725c94ef-d051-42d7-9d33-8572765d592b" providerId="AD" clId="Web-{8544FFE2-8133-585B-66CC-2C8177C23087}" dt="2023-11-17T20:41:43.183" v="176"/>
          <ac:spMkLst>
            <pc:docMk/>
            <pc:sldMk cId="3080095507" sldId="703"/>
            <ac:spMk id="4" creationId="{7C6CB985-0431-BE7A-0A14-7D8A51C03E22}"/>
          </ac:spMkLst>
        </pc:spChg>
        <pc:spChg chg="mod">
          <ac:chgData name="Eileen Fleming Suse" userId="S::efs3844@ads.northwestern.edu::725c94ef-d051-42d7-9d33-8572765d592b" providerId="AD" clId="Web-{8544FFE2-8133-585B-66CC-2C8177C23087}" dt="2023-11-17T20:41:43.183" v="176"/>
          <ac:spMkLst>
            <pc:docMk/>
            <pc:sldMk cId="3080095507" sldId="703"/>
            <ac:spMk id="5" creationId="{FD357973-69DB-04A9-A2C1-6BBC79CB3784}"/>
          </ac:spMkLst>
        </pc:spChg>
        <pc:spChg chg="add del mod">
          <ac:chgData name="Eileen Fleming Suse" userId="S::efs3844@ads.northwestern.edu::725c94ef-d051-42d7-9d33-8572765d592b" providerId="AD" clId="Web-{8544FFE2-8133-585B-66CC-2C8177C23087}" dt="2023-11-17T20:41:30.151" v="174"/>
          <ac:spMkLst>
            <pc:docMk/>
            <pc:sldMk cId="3080095507" sldId="703"/>
            <ac:spMk id="8" creationId="{A494F2CF-F558-DF73-AE8A-B3A0553BF3BB}"/>
          </ac:spMkLst>
        </pc:spChg>
        <pc:spChg chg="add mod">
          <ac:chgData name="Eileen Fleming Suse" userId="S::efs3844@ads.northwestern.edu::725c94ef-d051-42d7-9d33-8572765d592b" providerId="AD" clId="Web-{8544FFE2-8133-585B-66CC-2C8177C23087}" dt="2023-11-17T20:46:53.442" v="209"/>
          <ac:spMkLst>
            <pc:docMk/>
            <pc:sldMk cId="3080095507" sldId="703"/>
            <ac:spMk id="14" creationId="{DA90BC2C-8D4E-A05C-243D-BCA657477692}"/>
          </ac:spMkLst>
        </pc:spChg>
        <pc:spChg chg="add">
          <ac:chgData name="Eileen Fleming Suse" userId="S::efs3844@ads.northwestern.edu::725c94ef-d051-42d7-9d33-8572765d592b" providerId="AD" clId="Web-{8544FFE2-8133-585B-66CC-2C8177C23087}" dt="2023-11-17T20:41:43.183" v="176"/>
          <ac:spMkLst>
            <pc:docMk/>
            <pc:sldMk cId="3080095507" sldId="703"/>
            <ac:spMk id="16" creationId="{AA3CC463-F933-4AC4-86E1-5AC14B0C3163}"/>
          </ac:spMkLst>
        </pc:spChg>
        <pc:spChg chg="add">
          <ac:chgData name="Eileen Fleming Suse" userId="S::efs3844@ads.northwestern.edu::725c94ef-d051-42d7-9d33-8572765d592b" providerId="AD" clId="Web-{8544FFE2-8133-585B-66CC-2C8177C23087}" dt="2023-11-17T20:41:43.183" v="176"/>
          <ac:spMkLst>
            <pc:docMk/>
            <pc:sldMk cId="3080095507" sldId="703"/>
            <ac:spMk id="18" creationId="{6025D2DB-A12A-44DB-B00E-F4D622329EDD}"/>
          </ac:spMkLst>
        </pc:spChg>
        <pc:spChg chg="add ord">
          <ac:chgData name="Eileen Fleming Suse" userId="S::efs3844@ads.northwestern.edu::725c94ef-d051-42d7-9d33-8572765d592b" providerId="AD" clId="Web-{8544FFE2-8133-585B-66CC-2C8177C23087}" dt="2023-11-17T20:42:09.293" v="180"/>
          <ac:spMkLst>
            <pc:docMk/>
            <pc:sldMk cId="3080095507" sldId="703"/>
            <ac:spMk id="20" creationId="{CE7E7877-F64E-4EEA-B778-138031EFF874}"/>
          </ac:spMkLst>
        </pc:spChg>
        <pc:spChg chg="add">
          <ac:chgData name="Eileen Fleming Suse" userId="S::efs3844@ads.northwestern.edu::725c94ef-d051-42d7-9d33-8572765d592b" providerId="AD" clId="Web-{8544FFE2-8133-585B-66CC-2C8177C23087}" dt="2023-11-17T20:41:43.183" v="176"/>
          <ac:spMkLst>
            <pc:docMk/>
            <pc:sldMk cId="3080095507" sldId="703"/>
            <ac:spMk id="22" creationId="{7DD6C4F3-70FD-4F13-919C-702EE4886499}"/>
          </ac:spMkLst>
        </pc:spChg>
        <pc:picChg chg="add mod ord modCrop">
          <ac:chgData name="Eileen Fleming Suse" userId="S::efs3844@ads.northwestern.edu::725c94ef-d051-42d7-9d33-8572765d592b" providerId="AD" clId="Web-{8544FFE2-8133-585B-66CC-2C8177C23087}" dt="2023-11-17T20:45:10.439" v="205" actId="1076"/>
          <ac:picMkLst>
            <pc:docMk/>
            <pc:sldMk cId="3080095507" sldId="703"/>
            <ac:picMk id="6" creationId="{EF676F65-F32E-BCC1-B4AB-2FC96638BE9E}"/>
          </ac:picMkLst>
        </pc:picChg>
        <pc:picChg chg="add del mod">
          <ac:chgData name="Eileen Fleming Suse" userId="S::efs3844@ads.northwestern.edu::725c94ef-d051-42d7-9d33-8572765d592b" providerId="AD" clId="Web-{8544FFE2-8133-585B-66CC-2C8177C23087}" dt="2023-11-17T20:41:04.697" v="170"/>
          <ac:picMkLst>
            <pc:docMk/>
            <pc:sldMk cId="3080095507" sldId="703"/>
            <ac:picMk id="9" creationId="{7DEAA94B-259D-A0EF-A946-A0B85BC22F4E}"/>
          </ac:picMkLst>
        </pc:picChg>
        <pc:picChg chg="add mod ord">
          <ac:chgData name="Eileen Fleming Suse" userId="S::efs3844@ads.northwestern.edu::725c94ef-d051-42d7-9d33-8572765d592b" providerId="AD" clId="Web-{8544FFE2-8133-585B-66CC-2C8177C23087}" dt="2023-11-17T20:42:33.294" v="183" actId="1076"/>
          <ac:picMkLst>
            <pc:docMk/>
            <pc:sldMk cId="3080095507" sldId="703"/>
            <ac:picMk id="10" creationId="{1B456DB8-BA21-BAEA-F66C-46C6DD431168}"/>
          </ac:picMkLst>
        </pc:picChg>
        <pc:picChg chg="add mod">
          <ac:chgData name="Eileen Fleming Suse" userId="S::efs3844@ads.northwestern.edu::725c94ef-d051-42d7-9d33-8572765d592b" providerId="AD" clId="Web-{8544FFE2-8133-585B-66CC-2C8177C23087}" dt="2023-11-17T20:41:43.183" v="176"/>
          <ac:picMkLst>
            <pc:docMk/>
            <pc:sldMk cId="3080095507" sldId="703"/>
            <ac:picMk id="11" creationId="{E09D5B73-1671-B84D-6132-06E4A8E9E2DC}"/>
          </ac:picMkLst>
        </pc:picChg>
        <pc:picChg chg="add mod modCrop">
          <ac:chgData name="Eileen Fleming Suse" userId="S::efs3844@ads.northwestern.edu::725c94ef-d051-42d7-9d33-8572765d592b" providerId="AD" clId="Web-{8544FFE2-8133-585B-66CC-2C8177C23087}" dt="2023-11-17T20:45:10.392" v="204" actId="1076"/>
          <ac:picMkLst>
            <pc:docMk/>
            <pc:sldMk cId="3080095507" sldId="703"/>
            <ac:picMk id="13" creationId="{97F41871-076F-3542-7DCC-5CF58E271492}"/>
          </ac:picMkLst>
        </pc:picChg>
      </pc:sldChg>
      <pc:sldChg chg="new del">
        <pc:chgData name="Eileen Fleming Suse" userId="S::efs3844@ads.northwestern.edu::725c94ef-d051-42d7-9d33-8572765d592b" providerId="AD" clId="Web-{8544FFE2-8133-585B-66CC-2C8177C23087}" dt="2023-11-18T01:37:12.063" v="359"/>
        <pc:sldMkLst>
          <pc:docMk/>
          <pc:sldMk cId="506161772" sldId="704"/>
        </pc:sldMkLst>
      </pc:sldChg>
      <pc:sldChg chg="modSp new">
        <pc:chgData name="Eileen Fleming Suse" userId="S::efs3844@ads.northwestern.edu::725c94ef-d051-42d7-9d33-8572765d592b" providerId="AD" clId="Web-{8544FFE2-8133-585B-66CC-2C8177C23087}" dt="2023-11-17T20:36:20.330" v="162" actId="20577"/>
        <pc:sldMkLst>
          <pc:docMk/>
          <pc:sldMk cId="1949613945" sldId="705"/>
        </pc:sldMkLst>
        <pc:spChg chg="mod">
          <ac:chgData name="Eileen Fleming Suse" userId="S::efs3844@ads.northwestern.edu::725c94ef-d051-42d7-9d33-8572765d592b" providerId="AD" clId="Web-{8544FFE2-8133-585B-66CC-2C8177C23087}" dt="2023-11-17T20:36:20.330" v="162" actId="20577"/>
          <ac:spMkLst>
            <pc:docMk/>
            <pc:sldMk cId="1949613945" sldId="705"/>
            <ac:spMk id="2" creationId="{2DE9407A-4283-B111-345C-31D89DFF03A2}"/>
          </ac:spMkLst>
        </pc:spChg>
      </pc:sldChg>
      <pc:sldChg chg="add">
        <pc:chgData name="Eileen Fleming Suse" userId="S::efs3844@ads.northwestern.edu::725c94ef-d051-42d7-9d33-8572765d592b" providerId="AD" clId="Web-{8544FFE2-8133-585B-66CC-2C8177C23087}" dt="2023-11-17T20:16:14.374" v="52"/>
        <pc:sldMkLst>
          <pc:docMk/>
          <pc:sldMk cId="790635443" sldId="706"/>
        </pc:sldMkLst>
      </pc:sldChg>
      <pc:sldChg chg="add">
        <pc:chgData name="Eileen Fleming Suse" userId="S::efs3844@ads.northwestern.edu::725c94ef-d051-42d7-9d33-8572765d592b" providerId="AD" clId="Web-{8544FFE2-8133-585B-66CC-2C8177C23087}" dt="2023-11-17T20:16:42.468" v="53"/>
        <pc:sldMkLst>
          <pc:docMk/>
          <pc:sldMk cId="1643539557" sldId="707"/>
        </pc:sldMkLst>
      </pc:sldChg>
      <pc:sldChg chg="add">
        <pc:chgData name="Eileen Fleming Suse" userId="S::efs3844@ads.northwestern.edu::725c94ef-d051-42d7-9d33-8572765d592b" providerId="AD" clId="Web-{8544FFE2-8133-585B-66CC-2C8177C23087}" dt="2023-11-17T20:16:42.877" v="54"/>
        <pc:sldMkLst>
          <pc:docMk/>
          <pc:sldMk cId="1789754515" sldId="708"/>
        </pc:sldMkLst>
      </pc:sldChg>
      <pc:sldChg chg="add modNotes">
        <pc:chgData name="Eileen Fleming Suse" userId="S::efs3844@ads.northwestern.edu::725c94ef-d051-42d7-9d33-8572765d592b" providerId="AD" clId="Web-{8544FFE2-8133-585B-66CC-2C8177C23087}" dt="2023-11-17T20:24:06.200" v="93"/>
        <pc:sldMkLst>
          <pc:docMk/>
          <pc:sldMk cId="768417776" sldId="709"/>
        </pc:sldMkLst>
      </pc:sldChg>
      <pc:sldChg chg="add modNotes">
        <pc:chgData name="Eileen Fleming Suse" userId="S::efs3844@ads.northwestern.edu::725c94ef-d051-42d7-9d33-8572765d592b" providerId="AD" clId="Web-{8544FFE2-8133-585B-66CC-2C8177C23087}" dt="2023-11-17T20:24:05.934" v="91"/>
        <pc:sldMkLst>
          <pc:docMk/>
          <pc:sldMk cId="3734042619" sldId="710"/>
        </pc:sldMkLst>
      </pc:sldChg>
      <pc:sldChg chg="add modNotes">
        <pc:chgData name="Eileen Fleming Suse" userId="S::efs3844@ads.northwestern.edu::725c94ef-d051-42d7-9d33-8572765d592b" providerId="AD" clId="Web-{8544FFE2-8133-585B-66CC-2C8177C23087}" dt="2023-11-17T20:24:04.872" v="89"/>
        <pc:sldMkLst>
          <pc:docMk/>
          <pc:sldMk cId="3859034132" sldId="711"/>
        </pc:sldMkLst>
      </pc:sldChg>
      <pc:sldChg chg="add">
        <pc:chgData name="Eileen Fleming Suse" userId="S::efs3844@ads.northwestern.edu::725c94ef-d051-42d7-9d33-8572765d592b" providerId="AD" clId="Web-{8544FFE2-8133-585B-66CC-2C8177C23087}" dt="2023-11-17T20:17:06.391" v="58"/>
        <pc:sldMkLst>
          <pc:docMk/>
          <pc:sldMk cId="3139874353" sldId="712"/>
        </pc:sldMkLst>
      </pc:sldChg>
      <pc:sldChg chg="add">
        <pc:chgData name="Eileen Fleming Suse" userId="S::efs3844@ads.northwestern.edu::725c94ef-d051-42d7-9d33-8572765d592b" providerId="AD" clId="Web-{8544FFE2-8133-585B-66CC-2C8177C23087}" dt="2023-11-17T20:18:29.471" v="59"/>
        <pc:sldMkLst>
          <pc:docMk/>
          <pc:sldMk cId="4179369718" sldId="713"/>
        </pc:sldMkLst>
      </pc:sldChg>
      <pc:sldChg chg="addSp modSp new ord">
        <pc:chgData name="Eileen Fleming Suse" userId="S::efs3844@ads.northwestern.edu::725c94ef-d051-42d7-9d33-8572765d592b" providerId="AD" clId="Web-{8544FFE2-8133-585B-66CC-2C8177C23087}" dt="2023-11-17T20:22:07.009" v="73"/>
        <pc:sldMkLst>
          <pc:docMk/>
          <pc:sldMk cId="3124210322" sldId="714"/>
        </pc:sldMkLst>
        <pc:picChg chg="add mod">
          <ac:chgData name="Eileen Fleming Suse" userId="S::efs3844@ads.northwestern.edu::725c94ef-d051-42d7-9d33-8572765d592b" providerId="AD" clId="Web-{8544FFE2-8133-585B-66CC-2C8177C23087}" dt="2023-11-17T20:22:06.962" v="72" actId="1076"/>
          <ac:picMkLst>
            <pc:docMk/>
            <pc:sldMk cId="3124210322" sldId="714"/>
            <ac:picMk id="6" creationId="{9EE6AC8F-4DC4-191C-AA4C-B047F4935B19}"/>
          </ac:picMkLst>
        </pc:picChg>
      </pc:sldChg>
      <pc:sldChg chg="addSp modSp new ord">
        <pc:chgData name="Eileen Fleming Suse" userId="S::efs3844@ads.northwestern.edu::725c94ef-d051-42d7-9d33-8572765d592b" providerId="AD" clId="Web-{8544FFE2-8133-585B-66CC-2C8177C23087}" dt="2023-11-17T20:23:36.386" v="86" actId="20577"/>
        <pc:sldMkLst>
          <pc:docMk/>
          <pc:sldMk cId="4091814342" sldId="715"/>
        </pc:sldMkLst>
        <pc:spChg chg="mod">
          <ac:chgData name="Eileen Fleming Suse" userId="S::efs3844@ads.northwestern.edu::725c94ef-d051-42d7-9d33-8572765d592b" providerId="AD" clId="Web-{8544FFE2-8133-585B-66CC-2C8177C23087}" dt="2023-11-17T20:23:36.386" v="86" actId="20577"/>
          <ac:spMkLst>
            <pc:docMk/>
            <pc:sldMk cId="4091814342" sldId="715"/>
            <ac:spMk id="2" creationId="{8802BA79-C4E2-3A24-1316-4AC6D3F66837}"/>
          </ac:spMkLst>
        </pc:spChg>
        <pc:picChg chg="add mod">
          <ac:chgData name="Eileen Fleming Suse" userId="S::efs3844@ads.northwestern.edu::725c94ef-d051-42d7-9d33-8572765d592b" providerId="AD" clId="Web-{8544FFE2-8133-585B-66CC-2C8177C23087}" dt="2023-11-17T20:23:10.589" v="78" actId="1076"/>
          <ac:picMkLst>
            <pc:docMk/>
            <pc:sldMk cId="4091814342" sldId="715"/>
            <ac:picMk id="6" creationId="{302BBFF9-D69A-D1E9-E01C-7C15E1F6D1A6}"/>
          </ac:picMkLst>
        </pc:picChg>
      </pc:sldChg>
      <pc:sldChg chg="addSp delSp modSp new mod setBg modClrScheme chgLayout">
        <pc:chgData name="Eileen Fleming Suse" userId="S::efs3844@ads.northwestern.edu::725c94ef-d051-42d7-9d33-8572765d592b" providerId="AD" clId="Web-{8544FFE2-8133-585B-66CC-2C8177C23087}" dt="2023-11-17T20:35:43.141" v="150"/>
        <pc:sldMkLst>
          <pc:docMk/>
          <pc:sldMk cId="1219261171" sldId="716"/>
        </pc:sldMkLst>
        <pc:spChg chg="mod ord">
          <ac:chgData name="Eileen Fleming Suse" userId="S::efs3844@ads.northwestern.edu::725c94ef-d051-42d7-9d33-8572765d592b" providerId="AD" clId="Web-{8544FFE2-8133-585B-66CC-2C8177C23087}" dt="2023-11-17T20:35:43.141" v="150"/>
          <ac:spMkLst>
            <pc:docMk/>
            <pc:sldMk cId="1219261171" sldId="716"/>
            <ac:spMk id="2" creationId="{9CE5A4B0-542F-2C9E-8991-42C03138835F}"/>
          </ac:spMkLst>
        </pc:spChg>
        <pc:spChg chg="mod ord">
          <ac:chgData name="Eileen Fleming Suse" userId="S::efs3844@ads.northwestern.edu::725c94ef-d051-42d7-9d33-8572765d592b" providerId="AD" clId="Web-{8544FFE2-8133-585B-66CC-2C8177C23087}" dt="2023-11-17T20:35:43.141" v="150"/>
          <ac:spMkLst>
            <pc:docMk/>
            <pc:sldMk cId="1219261171" sldId="716"/>
            <ac:spMk id="3" creationId="{CEE04D07-E754-407A-AF01-3E961E5F8299}"/>
          </ac:spMkLst>
        </pc:spChg>
        <pc:spChg chg="add mod ord">
          <ac:chgData name="Eileen Fleming Suse" userId="S::efs3844@ads.northwestern.edu::725c94ef-d051-42d7-9d33-8572765d592b" providerId="AD" clId="Web-{8544FFE2-8133-585B-66CC-2C8177C23087}" dt="2023-11-17T20:35:43.141" v="150"/>
          <ac:spMkLst>
            <pc:docMk/>
            <pc:sldMk cId="1219261171" sldId="716"/>
            <ac:spMk id="4" creationId="{F75BEC83-D159-8B0F-F620-96A35FA5C767}"/>
          </ac:spMkLst>
        </pc:spChg>
        <pc:spChg chg="add del mod ord">
          <ac:chgData name="Eileen Fleming Suse" userId="S::efs3844@ads.northwestern.edu::725c94ef-d051-42d7-9d33-8572765d592b" providerId="AD" clId="Web-{8544FFE2-8133-585B-66CC-2C8177C23087}" dt="2023-11-17T20:35:43.141" v="150"/>
          <ac:spMkLst>
            <pc:docMk/>
            <pc:sldMk cId="1219261171" sldId="716"/>
            <ac:spMk id="5" creationId="{D88D8D55-7C2F-7D65-3250-A967B39A9B4A}"/>
          </ac:spMkLst>
        </pc:spChg>
        <pc:spChg chg="add">
          <ac:chgData name="Eileen Fleming Suse" userId="S::efs3844@ads.northwestern.edu::725c94ef-d051-42d7-9d33-8572765d592b" providerId="AD" clId="Web-{8544FFE2-8133-585B-66CC-2C8177C23087}" dt="2023-11-17T20:35:43.141" v="150"/>
          <ac:spMkLst>
            <pc:docMk/>
            <pc:sldMk cId="1219261171" sldId="716"/>
            <ac:spMk id="11" creationId="{BACC6370-2D7E-4714-9D71-7542949D7D5D}"/>
          </ac:spMkLst>
        </pc:spChg>
        <pc:spChg chg="add">
          <ac:chgData name="Eileen Fleming Suse" userId="S::efs3844@ads.northwestern.edu::725c94ef-d051-42d7-9d33-8572765d592b" providerId="AD" clId="Web-{8544FFE2-8133-585B-66CC-2C8177C23087}" dt="2023-11-17T20:35:43.141" v="150"/>
          <ac:spMkLst>
            <pc:docMk/>
            <pc:sldMk cId="1219261171" sldId="716"/>
            <ac:spMk id="13" creationId="{F68B3F68-107C-434F-AA38-110D5EA91B85}"/>
          </ac:spMkLst>
        </pc:spChg>
        <pc:spChg chg="add">
          <ac:chgData name="Eileen Fleming Suse" userId="S::efs3844@ads.northwestern.edu::725c94ef-d051-42d7-9d33-8572765d592b" providerId="AD" clId="Web-{8544FFE2-8133-585B-66CC-2C8177C23087}" dt="2023-11-17T20:35:43.141" v="150"/>
          <ac:spMkLst>
            <pc:docMk/>
            <pc:sldMk cId="1219261171" sldId="716"/>
            <ac:spMk id="15" creationId="{AAD0DBB9-1A4B-4391-81D4-CB19F9AB918A}"/>
          </ac:spMkLst>
        </pc:spChg>
        <pc:spChg chg="add">
          <ac:chgData name="Eileen Fleming Suse" userId="S::efs3844@ads.northwestern.edu::725c94ef-d051-42d7-9d33-8572765d592b" providerId="AD" clId="Web-{8544FFE2-8133-585B-66CC-2C8177C23087}" dt="2023-11-17T20:35:43.141" v="150"/>
          <ac:spMkLst>
            <pc:docMk/>
            <pc:sldMk cId="1219261171" sldId="716"/>
            <ac:spMk id="17" creationId="{063BBA22-50EA-4C4D-BE05-F1CE4E63AA56}"/>
          </ac:spMkLst>
        </pc:spChg>
        <pc:graphicFrameChg chg="add">
          <ac:chgData name="Eileen Fleming Suse" userId="S::efs3844@ads.northwestern.edu::725c94ef-d051-42d7-9d33-8572765d592b" providerId="AD" clId="Web-{8544FFE2-8133-585B-66CC-2C8177C23087}" dt="2023-11-17T20:35:43.141" v="150"/>
          <ac:graphicFrameMkLst>
            <pc:docMk/>
            <pc:sldMk cId="1219261171" sldId="716"/>
            <ac:graphicFrameMk id="7" creationId="{12C8E58B-812A-DA46-B1A6-90A0997A352B}"/>
          </ac:graphicFrameMkLst>
        </pc:graphicFrameChg>
      </pc:sldChg>
      <pc:sldChg chg="add del">
        <pc:chgData name="Eileen Fleming Suse" userId="S::efs3844@ads.northwestern.edu::725c94ef-d051-42d7-9d33-8572765d592b" providerId="AD" clId="Web-{8544FFE2-8133-585B-66CC-2C8177C23087}" dt="2023-11-17T20:58:42.665" v="284"/>
        <pc:sldMkLst>
          <pc:docMk/>
          <pc:sldMk cId="1437602570" sldId="717"/>
        </pc:sldMkLst>
      </pc:sldChg>
      <pc:sldChg chg="add">
        <pc:chgData name="Eileen Fleming Suse" userId="S::efs3844@ads.northwestern.edu::725c94ef-d051-42d7-9d33-8572765d592b" providerId="AD" clId="Web-{8544FFE2-8133-585B-66CC-2C8177C23087}" dt="2023-11-17T20:58:43.649" v="285"/>
        <pc:sldMkLst>
          <pc:docMk/>
          <pc:sldMk cId="4191050799" sldId="717"/>
        </pc:sldMkLst>
      </pc:sldChg>
      <pc:sldChg chg="add">
        <pc:chgData name="Eileen Fleming Suse" userId="S::efs3844@ads.northwestern.edu::725c94ef-d051-42d7-9d33-8572765d592b" providerId="AD" clId="Web-{8544FFE2-8133-585B-66CC-2C8177C23087}" dt="2023-11-17T20:58:44.571" v="286"/>
        <pc:sldMkLst>
          <pc:docMk/>
          <pc:sldMk cId="920926381" sldId="718"/>
        </pc:sldMkLst>
      </pc:sldChg>
      <pc:sldChg chg="add del">
        <pc:chgData name="Eileen Fleming Suse" userId="S::efs3844@ads.northwestern.edu::725c94ef-d051-42d7-9d33-8572765d592b" providerId="AD" clId="Web-{8544FFE2-8133-585B-66CC-2C8177C23087}" dt="2023-11-17T20:58:42.665" v="283"/>
        <pc:sldMkLst>
          <pc:docMk/>
          <pc:sldMk cId="3021507893" sldId="718"/>
        </pc:sldMkLst>
      </pc:sldChg>
      <pc:sldChg chg="add">
        <pc:chgData name="Eileen Fleming Suse" userId="S::efs3844@ads.northwestern.edu::725c94ef-d051-42d7-9d33-8572765d592b" providerId="AD" clId="Web-{8544FFE2-8133-585B-66CC-2C8177C23087}" dt="2023-11-17T20:58:45.696" v="287"/>
        <pc:sldMkLst>
          <pc:docMk/>
          <pc:sldMk cId="1181451199" sldId="719"/>
        </pc:sldMkLst>
      </pc:sldChg>
      <pc:sldChg chg="add del">
        <pc:chgData name="Eileen Fleming Suse" userId="S::efs3844@ads.northwestern.edu::725c94ef-d051-42d7-9d33-8572765d592b" providerId="AD" clId="Web-{8544FFE2-8133-585B-66CC-2C8177C23087}" dt="2023-11-17T20:58:42.665" v="282"/>
        <pc:sldMkLst>
          <pc:docMk/>
          <pc:sldMk cId="2458930477" sldId="719"/>
        </pc:sldMkLst>
      </pc:sldChg>
      <pc:sldChg chg="add">
        <pc:chgData name="Eileen Fleming Suse" userId="S::efs3844@ads.northwestern.edu::725c94ef-d051-42d7-9d33-8572765d592b" providerId="AD" clId="Web-{8544FFE2-8133-585B-66CC-2C8177C23087}" dt="2023-11-17T20:58:46.649" v="288"/>
        <pc:sldMkLst>
          <pc:docMk/>
          <pc:sldMk cId="102026260" sldId="720"/>
        </pc:sldMkLst>
      </pc:sldChg>
      <pc:sldChg chg="add del">
        <pc:chgData name="Eileen Fleming Suse" userId="S::efs3844@ads.northwestern.edu::725c94ef-d051-42d7-9d33-8572765d592b" providerId="AD" clId="Web-{8544FFE2-8133-585B-66CC-2C8177C23087}" dt="2023-11-17T20:58:42.665" v="281"/>
        <pc:sldMkLst>
          <pc:docMk/>
          <pc:sldMk cId="2619040630" sldId="720"/>
        </pc:sldMkLst>
      </pc:sldChg>
      <pc:sldChg chg="add del">
        <pc:chgData name="Eileen Fleming Suse" userId="S::efs3844@ads.northwestern.edu::725c94ef-d051-42d7-9d33-8572765d592b" providerId="AD" clId="Web-{8544FFE2-8133-585B-66CC-2C8177C23087}" dt="2023-11-17T20:58:42.665" v="280"/>
        <pc:sldMkLst>
          <pc:docMk/>
          <pc:sldMk cId="2098086206" sldId="721"/>
        </pc:sldMkLst>
      </pc:sldChg>
      <pc:sldChg chg="add">
        <pc:chgData name="Eileen Fleming Suse" userId="S::efs3844@ads.northwestern.edu::725c94ef-d051-42d7-9d33-8572765d592b" providerId="AD" clId="Web-{8544FFE2-8133-585B-66CC-2C8177C23087}" dt="2023-11-17T20:58:47.665" v="289"/>
        <pc:sldMkLst>
          <pc:docMk/>
          <pc:sldMk cId="4038851827" sldId="721"/>
        </pc:sldMkLst>
      </pc:sldChg>
      <pc:sldChg chg="add">
        <pc:chgData name="Eileen Fleming Suse" userId="S::efs3844@ads.northwestern.edu::725c94ef-d051-42d7-9d33-8572765d592b" providerId="AD" clId="Web-{8544FFE2-8133-585B-66CC-2C8177C23087}" dt="2023-11-17T20:58:48.712" v="290"/>
        <pc:sldMkLst>
          <pc:docMk/>
          <pc:sldMk cId="166818738" sldId="722"/>
        </pc:sldMkLst>
      </pc:sldChg>
      <pc:sldChg chg="add del">
        <pc:chgData name="Eileen Fleming Suse" userId="S::efs3844@ads.northwestern.edu::725c94ef-d051-42d7-9d33-8572765d592b" providerId="AD" clId="Web-{8544FFE2-8133-585B-66CC-2C8177C23087}" dt="2023-11-17T20:58:42.665" v="279"/>
        <pc:sldMkLst>
          <pc:docMk/>
          <pc:sldMk cId="3492088479" sldId="722"/>
        </pc:sldMkLst>
      </pc:sldChg>
      <pc:sldChg chg="add">
        <pc:chgData name="Eileen Fleming Suse" userId="S::efs3844@ads.northwestern.edu::725c94ef-d051-42d7-9d33-8572765d592b" providerId="AD" clId="Web-{8544FFE2-8133-585B-66CC-2C8177C23087}" dt="2023-11-17T20:58:49.743" v="291"/>
        <pc:sldMkLst>
          <pc:docMk/>
          <pc:sldMk cId="97208790" sldId="723"/>
        </pc:sldMkLst>
      </pc:sldChg>
      <pc:sldChg chg="add del">
        <pc:chgData name="Eileen Fleming Suse" userId="S::efs3844@ads.northwestern.edu::725c94ef-d051-42d7-9d33-8572765d592b" providerId="AD" clId="Web-{8544FFE2-8133-585B-66CC-2C8177C23087}" dt="2023-11-17T20:58:42.665" v="278"/>
        <pc:sldMkLst>
          <pc:docMk/>
          <pc:sldMk cId="2945055310" sldId="723"/>
        </pc:sldMkLst>
      </pc:sldChg>
      <pc:sldChg chg="add del">
        <pc:chgData name="Eileen Fleming Suse" userId="S::efs3844@ads.northwestern.edu::725c94ef-d051-42d7-9d33-8572765d592b" providerId="AD" clId="Web-{8544FFE2-8133-585B-66CC-2C8177C23087}" dt="2023-11-17T20:58:42.649" v="277"/>
        <pc:sldMkLst>
          <pc:docMk/>
          <pc:sldMk cId="725483926" sldId="724"/>
        </pc:sldMkLst>
      </pc:sldChg>
      <pc:sldChg chg="add">
        <pc:chgData name="Eileen Fleming Suse" userId="S::efs3844@ads.northwestern.edu::725c94ef-d051-42d7-9d33-8572765d592b" providerId="AD" clId="Web-{8544FFE2-8133-585B-66CC-2C8177C23087}" dt="2023-11-17T20:58:50.852" v="292"/>
        <pc:sldMkLst>
          <pc:docMk/>
          <pc:sldMk cId="2422191514" sldId="724"/>
        </pc:sldMkLst>
      </pc:sldChg>
      <pc:sldChg chg="add del">
        <pc:chgData name="Eileen Fleming Suse" userId="S::efs3844@ads.northwestern.edu::725c94ef-d051-42d7-9d33-8572765d592b" providerId="AD" clId="Web-{8544FFE2-8133-585B-66CC-2C8177C23087}" dt="2023-11-17T20:58:42.649" v="276"/>
        <pc:sldMkLst>
          <pc:docMk/>
          <pc:sldMk cId="2066878188" sldId="725"/>
        </pc:sldMkLst>
      </pc:sldChg>
      <pc:sldChg chg="add">
        <pc:chgData name="Eileen Fleming Suse" userId="S::efs3844@ads.northwestern.edu::725c94ef-d051-42d7-9d33-8572765d592b" providerId="AD" clId="Web-{8544FFE2-8133-585B-66CC-2C8177C23087}" dt="2023-11-17T20:58:51.868" v="293"/>
        <pc:sldMkLst>
          <pc:docMk/>
          <pc:sldMk cId="3458386910" sldId="725"/>
        </pc:sldMkLst>
      </pc:sldChg>
      <pc:sldChg chg="add del">
        <pc:chgData name="Eileen Fleming Suse" userId="S::efs3844@ads.northwestern.edu::725c94ef-d051-42d7-9d33-8572765d592b" providerId="AD" clId="Web-{8544FFE2-8133-585B-66CC-2C8177C23087}" dt="2023-11-17T20:58:42.649" v="275"/>
        <pc:sldMkLst>
          <pc:docMk/>
          <pc:sldMk cId="880761382" sldId="726"/>
        </pc:sldMkLst>
      </pc:sldChg>
      <pc:sldChg chg="add">
        <pc:chgData name="Eileen Fleming Suse" userId="S::efs3844@ads.northwestern.edu::725c94ef-d051-42d7-9d33-8572765d592b" providerId="AD" clId="Web-{8544FFE2-8133-585B-66CC-2C8177C23087}" dt="2023-11-17T20:58:53.087" v="294"/>
        <pc:sldMkLst>
          <pc:docMk/>
          <pc:sldMk cId="1390059426" sldId="726"/>
        </pc:sldMkLst>
      </pc:sldChg>
      <pc:sldChg chg="add del">
        <pc:chgData name="Eileen Fleming Suse" userId="S::efs3844@ads.northwestern.edu::725c94ef-d051-42d7-9d33-8572765d592b" providerId="AD" clId="Web-{8544FFE2-8133-585B-66CC-2C8177C23087}" dt="2023-11-17T20:58:42.649" v="274"/>
        <pc:sldMkLst>
          <pc:docMk/>
          <pc:sldMk cId="2780552259" sldId="727"/>
        </pc:sldMkLst>
      </pc:sldChg>
      <pc:sldChg chg="add">
        <pc:chgData name="Eileen Fleming Suse" userId="S::efs3844@ads.northwestern.edu::725c94ef-d051-42d7-9d33-8572765d592b" providerId="AD" clId="Web-{8544FFE2-8133-585B-66CC-2C8177C23087}" dt="2023-11-17T20:58:54.384" v="295"/>
        <pc:sldMkLst>
          <pc:docMk/>
          <pc:sldMk cId="3339906105" sldId="727"/>
        </pc:sldMkLst>
      </pc:sldChg>
      <pc:sldChg chg="add del">
        <pc:chgData name="Eileen Fleming Suse" userId="S::efs3844@ads.northwestern.edu::725c94ef-d051-42d7-9d33-8572765d592b" providerId="AD" clId="Web-{8544FFE2-8133-585B-66CC-2C8177C23087}" dt="2023-11-17T20:58:42.649" v="273"/>
        <pc:sldMkLst>
          <pc:docMk/>
          <pc:sldMk cId="183225558" sldId="728"/>
        </pc:sldMkLst>
      </pc:sldChg>
      <pc:sldChg chg="add">
        <pc:chgData name="Eileen Fleming Suse" userId="S::efs3844@ads.northwestern.edu::725c94ef-d051-42d7-9d33-8572765d592b" providerId="AD" clId="Web-{8544FFE2-8133-585B-66CC-2C8177C23087}" dt="2023-11-17T20:58:55.509" v="296"/>
        <pc:sldMkLst>
          <pc:docMk/>
          <pc:sldMk cId="2917591221" sldId="728"/>
        </pc:sldMkLst>
      </pc:sldChg>
      <pc:sldChg chg="add">
        <pc:chgData name="Eileen Fleming Suse" userId="S::efs3844@ads.northwestern.edu::725c94ef-d051-42d7-9d33-8572765d592b" providerId="AD" clId="Web-{8544FFE2-8133-585B-66CC-2C8177C23087}" dt="2023-11-17T20:58:56.759" v="297"/>
        <pc:sldMkLst>
          <pc:docMk/>
          <pc:sldMk cId="3429336150" sldId="729"/>
        </pc:sldMkLst>
      </pc:sldChg>
      <pc:sldChg chg="add del">
        <pc:chgData name="Eileen Fleming Suse" userId="S::efs3844@ads.northwestern.edu::725c94ef-d051-42d7-9d33-8572765d592b" providerId="AD" clId="Web-{8544FFE2-8133-585B-66CC-2C8177C23087}" dt="2023-11-17T20:58:42.649" v="272"/>
        <pc:sldMkLst>
          <pc:docMk/>
          <pc:sldMk cId="4172633609" sldId="729"/>
        </pc:sldMkLst>
      </pc:sldChg>
      <pc:sldChg chg="add">
        <pc:chgData name="Eileen Fleming Suse" userId="S::efs3844@ads.northwestern.edu::725c94ef-d051-42d7-9d33-8572765d592b" providerId="AD" clId="Web-{8544FFE2-8133-585B-66CC-2C8177C23087}" dt="2023-11-17T20:58:57.915" v="298"/>
        <pc:sldMkLst>
          <pc:docMk/>
          <pc:sldMk cId="1617559145" sldId="730"/>
        </pc:sldMkLst>
      </pc:sldChg>
      <pc:sldChg chg="add del">
        <pc:chgData name="Eileen Fleming Suse" userId="S::efs3844@ads.northwestern.edu::725c94ef-d051-42d7-9d33-8572765d592b" providerId="AD" clId="Web-{8544FFE2-8133-585B-66CC-2C8177C23087}" dt="2023-11-17T20:58:42.649" v="271"/>
        <pc:sldMkLst>
          <pc:docMk/>
          <pc:sldMk cId="3976055548" sldId="730"/>
        </pc:sldMkLst>
      </pc:sldChg>
      <pc:sldChg chg="add del">
        <pc:chgData name="Eileen Fleming Suse" userId="S::efs3844@ads.northwestern.edu::725c94ef-d051-42d7-9d33-8572765d592b" providerId="AD" clId="Web-{8544FFE2-8133-585B-66CC-2C8177C23087}" dt="2023-11-17T20:58:42.649" v="270"/>
        <pc:sldMkLst>
          <pc:docMk/>
          <pc:sldMk cId="2494894513" sldId="731"/>
        </pc:sldMkLst>
      </pc:sldChg>
      <pc:sldChg chg="add">
        <pc:chgData name="Eileen Fleming Suse" userId="S::efs3844@ads.northwestern.edu::725c94ef-d051-42d7-9d33-8572765d592b" providerId="AD" clId="Web-{8544FFE2-8133-585B-66CC-2C8177C23087}" dt="2023-11-17T20:58:58.978" v="299"/>
        <pc:sldMkLst>
          <pc:docMk/>
          <pc:sldMk cId="2888392633" sldId="731"/>
        </pc:sldMkLst>
      </pc:sldChg>
      <pc:sldChg chg="add">
        <pc:chgData name="Eileen Fleming Suse" userId="S::efs3844@ads.northwestern.edu::725c94ef-d051-42d7-9d33-8572765d592b" providerId="AD" clId="Web-{8544FFE2-8133-585B-66CC-2C8177C23087}" dt="2023-11-17T20:58:59.993" v="300"/>
        <pc:sldMkLst>
          <pc:docMk/>
          <pc:sldMk cId="1046854343" sldId="732"/>
        </pc:sldMkLst>
      </pc:sldChg>
      <pc:sldChg chg="add del">
        <pc:chgData name="Eileen Fleming Suse" userId="S::efs3844@ads.northwestern.edu::725c94ef-d051-42d7-9d33-8572765d592b" providerId="AD" clId="Web-{8544FFE2-8133-585B-66CC-2C8177C23087}" dt="2023-11-17T20:58:42.649" v="269"/>
        <pc:sldMkLst>
          <pc:docMk/>
          <pc:sldMk cId="1408081084" sldId="732"/>
        </pc:sldMkLst>
      </pc:sldChg>
      <pc:sldChg chg="add">
        <pc:chgData name="Eileen Fleming Suse" userId="S::efs3844@ads.northwestern.edu::725c94ef-d051-42d7-9d33-8572765d592b" providerId="AD" clId="Web-{8544FFE2-8133-585B-66CC-2C8177C23087}" dt="2023-11-17T20:59:01.025" v="301"/>
        <pc:sldMkLst>
          <pc:docMk/>
          <pc:sldMk cId="1800188643" sldId="733"/>
        </pc:sldMkLst>
      </pc:sldChg>
      <pc:sldChg chg="add del">
        <pc:chgData name="Eileen Fleming Suse" userId="S::efs3844@ads.northwestern.edu::725c94ef-d051-42d7-9d33-8572765d592b" providerId="AD" clId="Web-{8544FFE2-8133-585B-66CC-2C8177C23087}" dt="2023-11-17T20:58:42.633" v="268"/>
        <pc:sldMkLst>
          <pc:docMk/>
          <pc:sldMk cId="3415454204" sldId="733"/>
        </pc:sldMkLst>
      </pc:sldChg>
      <pc:sldChg chg="add del">
        <pc:chgData name="Eileen Fleming Suse" userId="S::efs3844@ads.northwestern.edu::725c94ef-d051-42d7-9d33-8572765d592b" providerId="AD" clId="Web-{8544FFE2-8133-585B-66CC-2C8177C23087}" dt="2023-11-17T20:58:42.633" v="267"/>
        <pc:sldMkLst>
          <pc:docMk/>
          <pc:sldMk cId="2901813020" sldId="734"/>
        </pc:sldMkLst>
      </pc:sldChg>
      <pc:sldChg chg="add">
        <pc:chgData name="Eileen Fleming Suse" userId="S::efs3844@ads.northwestern.edu::725c94ef-d051-42d7-9d33-8572765d592b" providerId="AD" clId="Web-{8544FFE2-8133-585B-66CC-2C8177C23087}" dt="2023-11-17T20:59:02.118" v="302"/>
        <pc:sldMkLst>
          <pc:docMk/>
          <pc:sldMk cId="2965389356" sldId="734"/>
        </pc:sldMkLst>
      </pc:sldChg>
      <pc:sldChg chg="add">
        <pc:chgData name="Eileen Fleming Suse" userId="S::efs3844@ads.northwestern.edu::725c94ef-d051-42d7-9d33-8572765d592b" providerId="AD" clId="Web-{8544FFE2-8133-585B-66CC-2C8177C23087}" dt="2023-11-17T20:59:03.040" v="303"/>
        <pc:sldMkLst>
          <pc:docMk/>
          <pc:sldMk cId="2012107243" sldId="735"/>
        </pc:sldMkLst>
      </pc:sldChg>
      <pc:sldChg chg="add del">
        <pc:chgData name="Eileen Fleming Suse" userId="S::efs3844@ads.northwestern.edu::725c94ef-d051-42d7-9d33-8572765d592b" providerId="AD" clId="Web-{8544FFE2-8133-585B-66CC-2C8177C23087}" dt="2023-11-17T20:58:42.633" v="266"/>
        <pc:sldMkLst>
          <pc:docMk/>
          <pc:sldMk cId="3503736368" sldId="735"/>
        </pc:sldMkLst>
      </pc:sldChg>
      <pc:sldChg chg="addSp delSp modSp new mod setBg">
        <pc:chgData name="Eileen Fleming Suse" userId="S::efs3844@ads.northwestern.edu::725c94ef-d051-42d7-9d33-8572765d592b" providerId="AD" clId="Web-{8544FFE2-8133-585B-66CC-2C8177C23087}" dt="2023-11-18T01:35:19.154" v="358"/>
        <pc:sldMkLst>
          <pc:docMk/>
          <pc:sldMk cId="1811019117" sldId="736"/>
        </pc:sldMkLst>
        <pc:spChg chg="mod">
          <ac:chgData name="Eileen Fleming Suse" userId="S::efs3844@ads.northwestern.edu::725c94ef-d051-42d7-9d33-8572765d592b" providerId="AD" clId="Web-{8544FFE2-8133-585B-66CC-2C8177C23087}" dt="2023-11-18T01:34:24.309" v="357"/>
          <ac:spMkLst>
            <pc:docMk/>
            <pc:sldMk cId="1811019117" sldId="736"/>
            <ac:spMk id="2" creationId="{EBCC4529-5171-41EF-E242-F4836E180A4C}"/>
          </ac:spMkLst>
        </pc:spChg>
        <pc:spChg chg="del mod">
          <ac:chgData name="Eileen Fleming Suse" userId="S::efs3844@ads.northwestern.edu::725c94ef-d051-42d7-9d33-8572765d592b" providerId="AD" clId="Web-{8544FFE2-8133-585B-66CC-2C8177C23087}" dt="2023-11-18T01:34:24.309" v="357"/>
          <ac:spMkLst>
            <pc:docMk/>
            <pc:sldMk cId="1811019117" sldId="736"/>
            <ac:spMk id="3" creationId="{A78DE4B8-B128-70E9-2028-E8A6182E7358}"/>
          </ac:spMkLst>
        </pc:spChg>
        <pc:spChg chg="mod">
          <ac:chgData name="Eileen Fleming Suse" userId="S::efs3844@ads.northwestern.edu::725c94ef-d051-42d7-9d33-8572765d592b" providerId="AD" clId="Web-{8544FFE2-8133-585B-66CC-2C8177C23087}" dt="2023-11-18T01:34:24.309" v="357"/>
          <ac:spMkLst>
            <pc:docMk/>
            <pc:sldMk cId="1811019117" sldId="736"/>
            <ac:spMk id="4" creationId="{B7FB3513-4113-97AC-358F-AD6038A13085}"/>
          </ac:spMkLst>
        </pc:spChg>
        <pc:spChg chg="mod">
          <ac:chgData name="Eileen Fleming Suse" userId="S::efs3844@ads.northwestern.edu::725c94ef-d051-42d7-9d33-8572765d592b" providerId="AD" clId="Web-{8544FFE2-8133-585B-66CC-2C8177C23087}" dt="2023-11-18T01:34:24.309" v="357"/>
          <ac:spMkLst>
            <pc:docMk/>
            <pc:sldMk cId="1811019117" sldId="736"/>
            <ac:spMk id="5" creationId="{100B16C8-06BE-BEDF-FCE3-9542B0274043}"/>
          </ac:spMkLst>
        </pc:spChg>
        <pc:spChg chg="add">
          <ac:chgData name="Eileen Fleming Suse" userId="S::efs3844@ads.northwestern.edu::725c94ef-d051-42d7-9d33-8572765d592b" providerId="AD" clId="Web-{8544FFE2-8133-585B-66CC-2C8177C23087}" dt="2023-11-18T01:34:24.309" v="357"/>
          <ac:spMkLst>
            <pc:docMk/>
            <pc:sldMk cId="1811019117" sldId="736"/>
            <ac:spMk id="11" creationId="{C5278130-DFE0-457B-8698-88DF69019DDE}"/>
          </ac:spMkLst>
        </pc:spChg>
        <pc:spChg chg="add">
          <ac:chgData name="Eileen Fleming Suse" userId="S::efs3844@ads.northwestern.edu::725c94ef-d051-42d7-9d33-8572765d592b" providerId="AD" clId="Web-{8544FFE2-8133-585B-66CC-2C8177C23087}" dt="2023-11-18T01:34:24.309" v="357"/>
          <ac:spMkLst>
            <pc:docMk/>
            <pc:sldMk cId="1811019117" sldId="736"/>
            <ac:spMk id="13" creationId="{2F99531B-1681-4D6E-BECB-18325B33A618}"/>
          </ac:spMkLst>
        </pc:spChg>
        <pc:spChg chg="add">
          <ac:chgData name="Eileen Fleming Suse" userId="S::efs3844@ads.northwestern.edu::725c94ef-d051-42d7-9d33-8572765d592b" providerId="AD" clId="Web-{8544FFE2-8133-585B-66CC-2C8177C23087}" dt="2023-11-18T01:34:24.309" v="357"/>
          <ac:spMkLst>
            <pc:docMk/>
            <pc:sldMk cId="1811019117" sldId="736"/>
            <ac:spMk id="15" creationId="{20344094-430A-400B-804B-910E696A1A90}"/>
          </ac:spMkLst>
        </pc:spChg>
        <pc:spChg chg="add">
          <ac:chgData name="Eileen Fleming Suse" userId="S::efs3844@ads.northwestern.edu::725c94ef-d051-42d7-9d33-8572765d592b" providerId="AD" clId="Web-{8544FFE2-8133-585B-66CC-2C8177C23087}" dt="2023-11-18T01:34:24.309" v="357"/>
          <ac:spMkLst>
            <pc:docMk/>
            <pc:sldMk cId="1811019117" sldId="736"/>
            <ac:spMk id="17" creationId="{453C67DF-7782-4E57-AB9B-F1B4811AD8FE}"/>
          </ac:spMkLst>
        </pc:spChg>
        <pc:graphicFrameChg chg="add modGraphic">
          <ac:chgData name="Eileen Fleming Suse" userId="S::efs3844@ads.northwestern.edu::725c94ef-d051-42d7-9d33-8572765d592b" providerId="AD" clId="Web-{8544FFE2-8133-585B-66CC-2C8177C23087}" dt="2023-11-18T01:35:19.154" v="358"/>
          <ac:graphicFrameMkLst>
            <pc:docMk/>
            <pc:sldMk cId="1811019117" sldId="736"/>
            <ac:graphicFrameMk id="7" creationId="{7A2359A2-13A0-13F8-9703-E546D92B0B98}"/>
          </ac:graphicFrameMkLst>
        </pc:graphicFrameChg>
        <pc:cxnChg chg="add">
          <ac:chgData name="Eileen Fleming Suse" userId="S::efs3844@ads.northwestern.edu::725c94ef-d051-42d7-9d33-8572765d592b" providerId="AD" clId="Web-{8544FFE2-8133-585B-66CC-2C8177C23087}" dt="2023-11-18T01:34:24.309" v="357"/>
          <ac:cxnSpMkLst>
            <pc:docMk/>
            <pc:sldMk cId="1811019117" sldId="736"/>
            <ac:cxnSpMk id="19" creationId="{B03A5AE3-BD30-455C-842B-7626C8BEF097}"/>
          </ac:cxnSpMkLst>
        </pc:cxnChg>
        <pc:cxnChg chg="add">
          <ac:chgData name="Eileen Fleming Suse" userId="S::efs3844@ads.northwestern.edu::725c94ef-d051-42d7-9d33-8572765d592b" providerId="AD" clId="Web-{8544FFE2-8133-585B-66CC-2C8177C23087}" dt="2023-11-18T01:34:24.309" v="357"/>
          <ac:cxnSpMkLst>
            <pc:docMk/>
            <pc:sldMk cId="1811019117" sldId="736"/>
            <ac:cxnSpMk id="21" creationId="{2DBECAA5-1F2D-470D-875C-8F2C2CA3E54B}"/>
          </ac:cxnSpMkLst>
        </pc:cxnChg>
      </pc:sldChg>
      <pc:sldChg chg="add">
        <pc:chgData name="Eileen Fleming Suse" userId="S::efs3844@ads.northwestern.edu::725c94ef-d051-42d7-9d33-8572765d592b" providerId="AD" clId="Web-{8544FFE2-8133-585B-66CC-2C8177C23087}" dt="2023-11-18T01:37:30.204" v="360"/>
        <pc:sldMkLst>
          <pc:docMk/>
          <pc:sldMk cId="1141813547" sldId="737"/>
        </pc:sldMkLst>
      </pc:sldChg>
      <pc:sldMasterChg chg="addSldLayout delSldLayout">
        <pc:chgData name="Eileen Fleming Suse" userId="S::efs3844@ads.northwestern.edu::725c94ef-d051-42d7-9d33-8572765d592b" providerId="AD" clId="Web-{8544FFE2-8133-585B-66CC-2C8177C23087}" dt="2023-11-17T20:58:42.633" v="266"/>
        <pc:sldMasterMkLst>
          <pc:docMk/>
          <pc:sldMasterMk cId="0" sldId="2147483648"/>
        </pc:sldMasterMkLst>
        <pc:sldLayoutChg chg="add del replId">
          <pc:chgData name="Eileen Fleming Suse" userId="S::efs3844@ads.northwestern.edu::725c94ef-d051-42d7-9d33-8572765d592b" providerId="AD" clId="Web-{8544FFE2-8133-585B-66CC-2C8177C23087}" dt="2023-11-17T20:58:42.633" v="266"/>
          <pc:sldLayoutMkLst>
            <pc:docMk/>
            <pc:sldMasterMk cId="0" sldId="2147483648"/>
            <pc:sldLayoutMk cId="2292398128" sldId="2147488080"/>
          </pc:sldLayoutMkLst>
        </pc:sldLayoutChg>
      </pc:sldMasterChg>
      <pc:sldMasterChg chg="addSldLayout">
        <pc:chgData name="Eileen Fleming Suse" userId="S::efs3844@ads.northwestern.edu::725c94ef-d051-42d7-9d33-8572765d592b" providerId="AD" clId="Web-{8544FFE2-8133-585B-66CC-2C8177C23087}" dt="2023-11-17T20:16:43.125" v="55"/>
        <pc:sldMasterMkLst>
          <pc:docMk/>
          <pc:sldMasterMk cId="3378073280" sldId="2147483756"/>
        </pc:sldMasterMkLst>
        <pc:sldLayoutChg chg="add replId">
          <pc:chgData name="Eileen Fleming Suse" userId="S::efs3844@ads.northwestern.edu::725c94ef-d051-42d7-9d33-8572765d592b" providerId="AD" clId="Web-{8544FFE2-8133-585B-66CC-2C8177C23087}" dt="2023-11-17T20:16:43.125" v="55"/>
          <pc:sldLayoutMkLst>
            <pc:docMk/>
            <pc:sldMasterMk cId="3378073280" sldId="2147483756"/>
            <pc:sldLayoutMk cId="3016851664" sldId="2147488079"/>
          </pc:sldLayoutMkLst>
        </pc:sldLayoutChg>
      </pc:sldMasterChg>
    </pc:docChg>
  </pc:docChgLst>
  <pc:docChgLst>
    <pc:chgData name="Alana Rivera" userId="S::arg3669@ads.northwestern.edu::fc8b707a-b7e9-4f2a-8d71-2d76819b7881" providerId="AD" clId="Web-{B4964270-B086-4309-6459-65EA28D1CB38}"/>
    <pc:docChg chg="delSld modSld">
      <pc:chgData name="Alana Rivera" userId="S::arg3669@ads.northwestern.edu::fc8b707a-b7e9-4f2a-8d71-2d76819b7881" providerId="AD" clId="Web-{B4964270-B086-4309-6459-65EA28D1CB38}" dt="2023-10-26T06:44:01.652" v="2"/>
      <pc:docMkLst>
        <pc:docMk/>
      </pc:docMkLst>
      <pc:sldChg chg="modSp">
        <pc:chgData name="Alana Rivera" userId="S::arg3669@ads.northwestern.edu::fc8b707a-b7e9-4f2a-8d71-2d76819b7881" providerId="AD" clId="Web-{B4964270-B086-4309-6459-65EA28D1CB38}" dt="2023-10-26T05:22:48.823" v="1" actId="14100"/>
        <pc:sldMkLst>
          <pc:docMk/>
          <pc:sldMk cId="2564870475" sldId="566"/>
        </pc:sldMkLst>
        <pc:spChg chg="mod">
          <ac:chgData name="Alana Rivera" userId="S::arg3669@ads.northwestern.edu::fc8b707a-b7e9-4f2a-8d71-2d76819b7881" providerId="AD" clId="Web-{B4964270-B086-4309-6459-65EA28D1CB38}" dt="2023-10-26T05:22:48.823" v="1" actId="14100"/>
          <ac:spMkLst>
            <pc:docMk/>
            <pc:sldMk cId="2564870475" sldId="566"/>
            <ac:spMk id="11" creationId="{00000000-0000-0000-0000-000000000000}"/>
          </ac:spMkLst>
        </pc:spChg>
      </pc:sldChg>
      <pc:sldChg chg="del">
        <pc:chgData name="Alana Rivera" userId="S::arg3669@ads.northwestern.edu::fc8b707a-b7e9-4f2a-8d71-2d76819b7881" providerId="AD" clId="Web-{B4964270-B086-4309-6459-65EA28D1CB38}" dt="2023-10-26T06:44:01.652" v="2"/>
        <pc:sldMkLst>
          <pc:docMk/>
          <pc:sldMk cId="4290994232" sldId="578"/>
        </pc:sldMkLst>
      </pc:sldChg>
    </pc:docChg>
  </pc:docChgLst>
  <pc:docChgLst>
    <pc:chgData name="Alana Rivera" userId="S::arg3669@ads.northwestern.edu::fc8b707a-b7e9-4f2a-8d71-2d76819b7881" providerId="AD" clId="Web-{FD6AAC05-D070-CD49-5625-8B86DFB12175}"/>
    <pc:docChg chg="modSld sldOrd">
      <pc:chgData name="Alana Rivera" userId="S::arg3669@ads.northwestern.edu::fc8b707a-b7e9-4f2a-8d71-2d76819b7881" providerId="AD" clId="Web-{FD6AAC05-D070-CD49-5625-8B86DFB12175}" dt="2023-12-05T21:41:38.559" v="94"/>
      <pc:docMkLst>
        <pc:docMk/>
      </pc:docMkLst>
      <pc:sldChg chg="modSp">
        <pc:chgData name="Alana Rivera" userId="S::arg3669@ads.northwestern.edu::fc8b707a-b7e9-4f2a-8d71-2d76819b7881" providerId="AD" clId="Web-{FD6AAC05-D070-CD49-5625-8B86DFB12175}" dt="2023-12-05T21:35:57.437" v="45" actId="20577"/>
        <pc:sldMkLst>
          <pc:docMk/>
          <pc:sldMk cId="3127921386" sldId="280"/>
        </pc:sldMkLst>
        <pc:spChg chg="mod">
          <ac:chgData name="Alana Rivera" userId="S::arg3669@ads.northwestern.edu::fc8b707a-b7e9-4f2a-8d71-2d76819b7881" providerId="AD" clId="Web-{FD6AAC05-D070-CD49-5625-8B86DFB12175}" dt="2023-12-05T21:34:49.047" v="30" actId="14100"/>
          <ac:spMkLst>
            <pc:docMk/>
            <pc:sldMk cId="3127921386" sldId="280"/>
            <ac:spMk id="3" creationId="{1D742501-F937-8041-84E5-748F96AE991B}"/>
          </ac:spMkLst>
        </pc:spChg>
        <pc:spChg chg="mod">
          <ac:chgData name="Alana Rivera" userId="S::arg3669@ads.northwestern.edu::fc8b707a-b7e9-4f2a-8d71-2d76819b7881" providerId="AD" clId="Web-{FD6AAC05-D070-CD49-5625-8B86DFB12175}" dt="2023-12-05T21:35:57.437" v="45" actId="20577"/>
          <ac:spMkLst>
            <pc:docMk/>
            <pc:sldMk cId="3127921386" sldId="280"/>
            <ac:spMk id="9" creationId="{7F20A429-9947-F447-2DF2-A5C17B5C6EC1}"/>
          </ac:spMkLst>
        </pc:spChg>
        <pc:picChg chg="mod">
          <ac:chgData name="Alana Rivera" userId="S::arg3669@ads.northwestern.edu::fc8b707a-b7e9-4f2a-8d71-2d76819b7881" providerId="AD" clId="Web-{FD6AAC05-D070-CD49-5625-8B86DFB12175}" dt="2023-12-05T21:25:10.615" v="0"/>
          <ac:picMkLst>
            <pc:docMk/>
            <pc:sldMk cId="3127921386" sldId="280"/>
            <ac:picMk id="2" creationId="{0D7C69D0-240C-8322-D521-66F461EE341B}"/>
          </ac:picMkLst>
        </pc:picChg>
      </pc:sldChg>
      <pc:sldChg chg="modSp">
        <pc:chgData name="Alana Rivera" userId="S::arg3669@ads.northwestern.edu::fc8b707a-b7e9-4f2a-8d71-2d76819b7881" providerId="AD" clId="Web-{FD6AAC05-D070-CD49-5625-8B86DFB12175}" dt="2023-12-05T21:41:38.325" v="92" actId="20577"/>
        <pc:sldMkLst>
          <pc:docMk/>
          <pc:sldMk cId="4044691067" sldId="283"/>
        </pc:sldMkLst>
        <pc:spChg chg="mod">
          <ac:chgData name="Alana Rivera" userId="S::arg3669@ads.northwestern.edu::fc8b707a-b7e9-4f2a-8d71-2d76819b7881" providerId="AD" clId="Web-{FD6AAC05-D070-CD49-5625-8B86DFB12175}" dt="2023-12-05T21:41:38.325" v="92" actId="20577"/>
          <ac:spMkLst>
            <pc:docMk/>
            <pc:sldMk cId="4044691067" sldId="283"/>
            <ac:spMk id="16387" creationId="{00000000-0000-0000-0000-000000000000}"/>
          </ac:spMkLst>
        </pc:spChg>
      </pc:sldChg>
      <pc:sldChg chg="ord">
        <pc:chgData name="Alana Rivera" userId="S::arg3669@ads.northwestern.edu::fc8b707a-b7e9-4f2a-8d71-2d76819b7881" providerId="AD" clId="Web-{FD6AAC05-D070-CD49-5625-8B86DFB12175}" dt="2023-12-05T21:41:38.372" v="93"/>
        <pc:sldMkLst>
          <pc:docMk/>
          <pc:sldMk cId="1643539557" sldId="707"/>
        </pc:sldMkLst>
      </pc:sldChg>
      <pc:sldChg chg="ord">
        <pc:chgData name="Alana Rivera" userId="S::arg3669@ads.northwestern.edu::fc8b707a-b7e9-4f2a-8d71-2d76819b7881" providerId="AD" clId="Web-{FD6AAC05-D070-CD49-5625-8B86DFB12175}" dt="2023-12-05T21:41:38.559" v="94"/>
        <pc:sldMkLst>
          <pc:docMk/>
          <pc:sldMk cId="768417776" sldId="709"/>
        </pc:sldMkLst>
      </pc:sldChg>
      <pc:sldChg chg="modSp">
        <pc:chgData name="Alana Rivera" userId="S::arg3669@ads.northwestern.edu::fc8b707a-b7e9-4f2a-8d71-2d76819b7881" providerId="AD" clId="Web-{FD6AAC05-D070-CD49-5625-8B86DFB12175}" dt="2023-12-05T21:27:31.707" v="25" actId="20577"/>
        <pc:sldMkLst>
          <pc:docMk/>
          <pc:sldMk cId="3139874353" sldId="712"/>
        </pc:sldMkLst>
        <pc:spChg chg="mod">
          <ac:chgData name="Alana Rivera" userId="S::arg3669@ads.northwestern.edu::fc8b707a-b7e9-4f2a-8d71-2d76819b7881" providerId="AD" clId="Web-{FD6AAC05-D070-CD49-5625-8B86DFB12175}" dt="2023-12-05T21:27:31.707" v="25" actId="20577"/>
          <ac:spMkLst>
            <pc:docMk/>
            <pc:sldMk cId="3139874353" sldId="712"/>
            <ac:spMk id="2" creationId="{39AAB3FF-760A-B654-5F1B-78AD5BEB6B57}"/>
          </ac:spMkLst>
        </pc:spChg>
      </pc:sldChg>
      <pc:sldChg chg="modSp">
        <pc:chgData name="Alana Rivera" userId="S::arg3669@ads.northwestern.edu::fc8b707a-b7e9-4f2a-8d71-2d76819b7881" providerId="AD" clId="Web-{FD6AAC05-D070-CD49-5625-8B86DFB12175}" dt="2023-12-05T21:40:44.810" v="87" actId="20577"/>
        <pc:sldMkLst>
          <pc:docMk/>
          <pc:sldMk cId="1219261171" sldId="716"/>
        </pc:sldMkLst>
        <pc:graphicFrameChg chg="modGraphic">
          <ac:chgData name="Alana Rivera" userId="S::arg3669@ads.northwestern.edu::fc8b707a-b7e9-4f2a-8d71-2d76819b7881" providerId="AD" clId="Web-{FD6AAC05-D070-CD49-5625-8B86DFB12175}" dt="2023-12-05T21:40:44.810" v="87" actId="20577"/>
          <ac:graphicFrameMkLst>
            <pc:docMk/>
            <pc:sldMk cId="1219261171" sldId="716"/>
            <ac:graphicFrameMk id="7" creationId="{12C8E58B-812A-DA46-B1A6-90A0997A352B}"/>
          </ac:graphicFrameMkLst>
        </pc:graphicFrameChg>
      </pc:sldChg>
    </pc:docChg>
  </pc:docChgLst>
  <pc:docChgLst>
    <pc:chgData name="Alana Rivera" userId="S::arg3669@ads.northwestern.edu::fc8b707a-b7e9-4f2a-8d71-2d76819b7881" providerId="AD" clId="Web-{FC194283-EEC6-0521-D05D-577D27A78776}"/>
    <pc:docChg chg="modSld">
      <pc:chgData name="Alana Rivera" userId="S::arg3669@ads.northwestern.edu::fc8b707a-b7e9-4f2a-8d71-2d76819b7881" providerId="AD" clId="Web-{FC194283-EEC6-0521-D05D-577D27A78776}" dt="2023-10-30T20:28:42.508" v="163" actId="20577"/>
      <pc:docMkLst>
        <pc:docMk/>
      </pc:docMkLst>
      <pc:sldChg chg="delCm">
        <pc:chgData name="Alana Rivera" userId="S::arg3669@ads.northwestern.edu::fc8b707a-b7e9-4f2a-8d71-2d76819b7881" providerId="AD" clId="Web-{FC194283-EEC6-0521-D05D-577D27A78776}" dt="2023-10-30T19:50:20.612" v="0"/>
        <pc:sldMkLst>
          <pc:docMk/>
          <pc:sldMk cId="3127921386" sldId="280"/>
        </pc:sldMkLst>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19:50:20.612" v="0"/>
              <pc2:cmMkLst xmlns:pc2="http://schemas.microsoft.com/office/powerpoint/2019/9/main/command">
                <pc:docMk/>
                <pc:sldMk cId="3127921386" sldId="280"/>
                <pc2:cmMk id="{78C9B980-2656-432B-BA11-07ACE79B211F}"/>
              </pc2:cmMkLst>
            </pc226:cmChg>
          </p:ext>
        </pc:extLst>
      </pc:sldChg>
      <pc:sldChg chg="modSp delCm">
        <pc:chgData name="Alana Rivera" userId="S::arg3669@ads.northwestern.edu::fc8b707a-b7e9-4f2a-8d71-2d76819b7881" providerId="AD" clId="Web-{FC194283-EEC6-0521-D05D-577D27A78776}" dt="2023-10-30T20:28:42.508" v="163" actId="20577"/>
        <pc:sldMkLst>
          <pc:docMk/>
          <pc:sldMk cId="4044691067" sldId="283"/>
        </pc:sldMkLst>
        <pc:spChg chg="mod">
          <ac:chgData name="Alana Rivera" userId="S::arg3669@ads.northwestern.edu::fc8b707a-b7e9-4f2a-8d71-2d76819b7881" providerId="AD" clId="Web-{FC194283-EEC6-0521-D05D-577D27A78776}" dt="2023-10-30T20:16:51.612" v="107" actId="14100"/>
          <ac:spMkLst>
            <pc:docMk/>
            <pc:sldMk cId="4044691067" sldId="283"/>
            <ac:spMk id="2" creationId="{00000000-0000-0000-0000-000000000000}"/>
          </ac:spMkLst>
        </pc:spChg>
        <pc:spChg chg="mod">
          <ac:chgData name="Alana Rivera" userId="S::arg3669@ads.northwestern.edu::fc8b707a-b7e9-4f2a-8d71-2d76819b7881" providerId="AD" clId="Web-{FC194283-EEC6-0521-D05D-577D27A78776}" dt="2023-10-30T20:28:42.508" v="163" actId="20577"/>
          <ac:spMkLst>
            <pc:docMk/>
            <pc:sldMk cId="4044691067" sldId="283"/>
            <ac:spMk id="3" creationId="{00000000-0000-0000-0000-000000000000}"/>
          </ac:spMkLst>
        </pc:spChg>
        <pc:spChg chg="mod">
          <ac:chgData name="Alana Rivera" userId="S::arg3669@ads.northwestern.edu::fc8b707a-b7e9-4f2a-8d71-2d76819b7881" providerId="AD" clId="Web-{FC194283-EEC6-0521-D05D-577D27A78776}" dt="2023-10-30T20:16:22.283" v="101" actId="1076"/>
          <ac:spMkLst>
            <pc:docMk/>
            <pc:sldMk cId="4044691067" sldId="283"/>
            <ac:spMk id="16387" creationId="{00000000-0000-0000-0000-000000000000}"/>
          </ac:spMkLst>
        </pc:spChg>
        <pc:extLst>
          <p:ext xmlns:p="http://schemas.openxmlformats.org/presentationml/2006/main" uri="{D6D511B9-2390-475A-947B-AFAB55BFBCF1}">
            <pc226:cmChg xmlns:pc226="http://schemas.microsoft.com/office/powerpoint/2022/06/main/command" chg="del">
              <pc226:chgData name="Alana Rivera" userId="S::arg3669@ads.northwestern.edu::fc8b707a-b7e9-4f2a-8d71-2d76819b7881" providerId="AD" clId="Web-{FC194283-EEC6-0521-D05D-577D27A78776}" dt="2023-10-30T20:25:18.096" v="146"/>
              <pc2:cmMkLst xmlns:pc2="http://schemas.microsoft.com/office/powerpoint/2019/9/main/command">
                <pc:docMk/>
                <pc:sldMk cId="4044691067" sldId="283"/>
                <pc2:cmMk id="{51D99AE4-D60E-4433-99C8-10E7EA141D41}"/>
              </pc2:cmMkLst>
            </pc226:cmChg>
          </p:ext>
        </pc:extLst>
      </pc:sldChg>
      <pc:sldChg chg="modSp">
        <pc:chgData name="Alana Rivera" userId="S::arg3669@ads.northwestern.edu::fc8b707a-b7e9-4f2a-8d71-2d76819b7881" providerId="AD" clId="Web-{FC194283-EEC6-0521-D05D-577D27A78776}" dt="2023-10-30T19:53:52.196" v="7"/>
        <pc:sldMkLst>
          <pc:docMk/>
          <pc:sldMk cId="3004937174" sldId="565"/>
        </pc:sldMkLst>
        <pc:spChg chg="mod">
          <ac:chgData name="Alana Rivera" userId="S::arg3669@ads.northwestern.edu::fc8b707a-b7e9-4f2a-8d71-2d76819b7881" providerId="AD" clId="Web-{FC194283-EEC6-0521-D05D-577D27A78776}" dt="2023-10-30T19:53:52.196" v="7"/>
          <ac:spMkLst>
            <pc:docMk/>
            <pc:sldMk cId="3004937174" sldId="565"/>
            <ac:spMk id="10" creationId="{00000000-0000-0000-0000-000000000000}"/>
          </ac:spMkLst>
        </pc:spChg>
      </pc:sldChg>
      <pc:sldChg chg="addSp modSp">
        <pc:chgData name="Alana Rivera" userId="S::arg3669@ads.northwestern.edu::fc8b707a-b7e9-4f2a-8d71-2d76819b7881" providerId="AD" clId="Web-{FC194283-EEC6-0521-D05D-577D27A78776}" dt="2023-10-30T20:04:05.402" v="58" actId="20577"/>
        <pc:sldMkLst>
          <pc:docMk/>
          <pc:sldMk cId="3419957415" sldId="577"/>
        </pc:sldMkLst>
        <pc:spChg chg="mod">
          <ac:chgData name="Alana Rivera" userId="S::arg3669@ads.northwestern.edu::fc8b707a-b7e9-4f2a-8d71-2d76819b7881" providerId="AD" clId="Web-{FC194283-EEC6-0521-D05D-577D27A78776}" dt="2023-10-30T20:04:05.402" v="58" actId="20577"/>
          <ac:spMkLst>
            <pc:docMk/>
            <pc:sldMk cId="3419957415" sldId="577"/>
            <ac:spMk id="51" creationId="{00000000-0000-0000-0000-000000000000}"/>
          </ac:spMkLst>
        </pc:spChg>
        <pc:spChg chg="mod">
          <ac:chgData name="Alana Rivera" userId="S::arg3669@ads.northwestern.edu::fc8b707a-b7e9-4f2a-8d71-2d76819b7881" providerId="AD" clId="Web-{FC194283-EEC6-0521-D05D-577D27A78776}" dt="2023-10-30T20:04:01.402" v="57" actId="20577"/>
          <ac:spMkLst>
            <pc:docMk/>
            <pc:sldMk cId="3419957415" sldId="577"/>
            <ac:spMk id="52" creationId="{00000000-0000-0000-0000-000000000000}"/>
          </ac:spMkLst>
        </pc:spChg>
        <pc:spChg chg="mod">
          <ac:chgData name="Alana Rivera" userId="S::arg3669@ads.northwestern.edu::fc8b707a-b7e9-4f2a-8d71-2d76819b7881" providerId="AD" clId="Web-{FC194283-EEC6-0521-D05D-577D27A78776}" dt="2023-10-30T20:03:58.183" v="55" actId="20577"/>
          <ac:spMkLst>
            <pc:docMk/>
            <pc:sldMk cId="3419957415" sldId="577"/>
            <ac:spMk id="53" creationId="{00000000-0000-0000-0000-000000000000}"/>
          </ac:spMkLst>
        </pc:spChg>
        <pc:spChg chg="mod">
          <ac:chgData name="Alana Rivera" userId="S::arg3669@ads.northwestern.edu::fc8b707a-b7e9-4f2a-8d71-2d76819b7881" providerId="AD" clId="Web-{FC194283-EEC6-0521-D05D-577D27A78776}" dt="2023-10-30T20:03:46.714" v="52" actId="14100"/>
          <ac:spMkLst>
            <pc:docMk/>
            <pc:sldMk cId="3419957415" sldId="577"/>
            <ac:spMk id="54" creationId="{00000000-0000-0000-0000-000000000000}"/>
          </ac:spMkLst>
        </pc:spChg>
        <pc:spChg chg="mod">
          <ac:chgData name="Alana Rivera" userId="S::arg3669@ads.northwestern.edu::fc8b707a-b7e9-4f2a-8d71-2d76819b7881" providerId="AD" clId="Web-{FC194283-EEC6-0521-D05D-577D27A78776}" dt="2023-10-30T20:03:53.511" v="54" actId="14100"/>
          <ac:spMkLst>
            <pc:docMk/>
            <pc:sldMk cId="3419957415" sldId="577"/>
            <ac:spMk id="57" creationId="{00000000-0000-0000-0000-000000000000}"/>
          </ac:spMkLst>
        </pc:spChg>
        <pc:spChg chg="mod">
          <ac:chgData name="Alana Rivera" userId="S::arg3669@ads.northwestern.edu::fc8b707a-b7e9-4f2a-8d71-2d76819b7881" providerId="AD" clId="Web-{FC194283-EEC6-0521-D05D-577D27A78776}" dt="2023-10-30T20:00:54.053" v="18" actId="20577"/>
          <ac:spMkLst>
            <pc:docMk/>
            <pc:sldMk cId="3419957415" sldId="577"/>
            <ac:spMk id="64" creationId="{CE06DA76-2516-7530-74D6-38D1B1FC6BFE}"/>
          </ac:spMkLst>
        </pc:spChg>
        <pc:spChg chg="add mod">
          <ac:chgData name="Alana Rivera" userId="S::arg3669@ads.northwestern.edu::fc8b707a-b7e9-4f2a-8d71-2d76819b7881" providerId="AD" clId="Web-{FC194283-EEC6-0521-D05D-577D27A78776}" dt="2023-10-30T20:01:02.834" v="20" actId="1076"/>
          <ac:spMkLst>
            <pc:docMk/>
            <pc:sldMk cId="3419957415" sldId="577"/>
            <ac:spMk id="65" creationId="{28CD4543-B35F-C7BE-C5DB-7DF0067C551A}"/>
          </ac:spMkLst>
        </pc:spChg>
      </pc:sldChg>
      <pc:sldChg chg="modSp">
        <pc:chgData name="Alana Rivera" userId="S::arg3669@ads.northwestern.edu::fc8b707a-b7e9-4f2a-8d71-2d76819b7881" providerId="AD" clId="Web-{FC194283-EEC6-0521-D05D-577D27A78776}" dt="2023-10-30T20:01:29.616" v="25" actId="20577"/>
        <pc:sldMkLst>
          <pc:docMk/>
          <pc:sldMk cId="785115983" sldId="578"/>
        </pc:sldMkLst>
        <pc:spChg chg="mod">
          <ac:chgData name="Alana Rivera" userId="S::arg3669@ads.northwestern.edu::fc8b707a-b7e9-4f2a-8d71-2d76819b7881" providerId="AD" clId="Web-{FC194283-EEC6-0521-D05D-577D27A78776}" dt="2023-10-30T20:01:24.991" v="22" actId="20577"/>
          <ac:spMkLst>
            <pc:docMk/>
            <pc:sldMk cId="785115983" sldId="578"/>
            <ac:spMk id="46" creationId="{00000000-0000-0000-0000-000000000000}"/>
          </ac:spMkLst>
        </pc:spChg>
        <pc:spChg chg="mod">
          <ac:chgData name="Alana Rivera" userId="S::arg3669@ads.northwestern.edu::fc8b707a-b7e9-4f2a-8d71-2d76819b7881" providerId="AD" clId="Web-{FC194283-EEC6-0521-D05D-577D27A78776}" dt="2023-10-30T20:01:29.616" v="25" actId="20577"/>
          <ac:spMkLst>
            <pc:docMk/>
            <pc:sldMk cId="785115983" sldId="578"/>
            <ac:spMk id="47" creationId="{00000000-0000-0000-0000-000000000000}"/>
          </ac:spMkLst>
        </pc:spChg>
        <pc:spChg chg="mod">
          <ac:chgData name="Alana Rivera" userId="S::arg3669@ads.northwestern.edu::fc8b707a-b7e9-4f2a-8d71-2d76819b7881" providerId="AD" clId="Web-{FC194283-EEC6-0521-D05D-577D27A78776}" dt="2023-10-30T20:01:28.257" v="24" actId="20577"/>
          <ac:spMkLst>
            <pc:docMk/>
            <pc:sldMk cId="785115983" sldId="578"/>
            <ac:spMk id="50" creationId="{00000000-0000-0000-0000-000000000000}"/>
          </ac:spMkLst>
        </pc:spChg>
      </pc:sldChg>
      <pc:sldChg chg="modSp">
        <pc:chgData name="Alana Rivera" userId="S::arg3669@ads.northwestern.edu::fc8b707a-b7e9-4f2a-8d71-2d76819b7881" providerId="AD" clId="Web-{FC194283-EEC6-0521-D05D-577D27A78776}" dt="2023-10-30T20:01:59.492" v="31"/>
        <pc:sldMkLst>
          <pc:docMk/>
          <pc:sldMk cId="3030449316" sldId="579"/>
        </pc:sldMkLst>
        <pc:spChg chg="mod">
          <ac:chgData name="Alana Rivera" userId="S::arg3669@ads.northwestern.edu::fc8b707a-b7e9-4f2a-8d71-2d76819b7881" providerId="AD" clId="Web-{FC194283-EEC6-0521-D05D-577D27A78776}" dt="2023-10-30T20:01:59.477" v="30"/>
          <ac:spMkLst>
            <pc:docMk/>
            <pc:sldMk cId="3030449316" sldId="579"/>
            <ac:spMk id="4" creationId="{00000000-0000-0000-0000-000000000000}"/>
          </ac:spMkLst>
        </pc:spChg>
        <pc:spChg chg="mod">
          <ac:chgData name="Alana Rivera" userId="S::arg3669@ads.northwestern.edu::fc8b707a-b7e9-4f2a-8d71-2d76819b7881" providerId="AD" clId="Web-{FC194283-EEC6-0521-D05D-577D27A78776}" dt="2023-10-30T20:01:59.492" v="31"/>
          <ac:spMkLst>
            <pc:docMk/>
            <pc:sldMk cId="3030449316" sldId="579"/>
            <ac:spMk id="5" creationId="{00000000-0000-0000-0000-000000000000}"/>
          </ac:spMkLst>
        </pc:spChg>
        <pc:spChg chg="mod">
          <ac:chgData name="Alana Rivera" userId="S::arg3669@ads.northwestern.edu::fc8b707a-b7e9-4f2a-8d71-2d76819b7881" providerId="AD" clId="Web-{FC194283-EEC6-0521-D05D-577D27A78776}" dt="2023-10-30T20:01:40.304" v="26" actId="20577"/>
          <ac:spMkLst>
            <pc:docMk/>
            <pc:sldMk cId="3030449316" sldId="579"/>
            <ac:spMk id="46" creationId="{00000000-0000-0000-0000-000000000000}"/>
          </ac:spMkLst>
        </pc:spChg>
        <pc:spChg chg="mod">
          <ac:chgData name="Alana Rivera" userId="S::arg3669@ads.northwestern.edu::fc8b707a-b7e9-4f2a-8d71-2d76819b7881" providerId="AD" clId="Web-{FC194283-EEC6-0521-D05D-577D27A78776}" dt="2023-10-30T20:01:50.039" v="29" actId="14100"/>
          <ac:spMkLst>
            <pc:docMk/>
            <pc:sldMk cId="3030449316" sldId="579"/>
            <ac:spMk id="47" creationId="{00000000-0000-0000-0000-000000000000}"/>
          </ac:spMkLst>
        </pc:spChg>
        <pc:spChg chg="mod">
          <ac:chgData name="Alana Rivera" userId="S::arg3669@ads.northwestern.edu::fc8b707a-b7e9-4f2a-8d71-2d76819b7881" providerId="AD" clId="Web-{FC194283-EEC6-0521-D05D-577D27A78776}" dt="2023-10-30T20:01:43.664" v="27" actId="20577"/>
          <ac:spMkLst>
            <pc:docMk/>
            <pc:sldMk cId="3030449316" sldId="579"/>
            <ac:spMk id="50" creationId="{00000000-0000-0000-0000-000000000000}"/>
          </ac:spMkLst>
        </pc:spChg>
      </pc:sldChg>
      <pc:sldChg chg="modSp">
        <pc:chgData name="Alana Rivera" userId="S::arg3669@ads.northwestern.edu::fc8b707a-b7e9-4f2a-8d71-2d76819b7881" providerId="AD" clId="Web-{FC194283-EEC6-0521-D05D-577D27A78776}" dt="2023-10-30T20:02:39.259" v="40" actId="20577"/>
        <pc:sldMkLst>
          <pc:docMk/>
          <pc:sldMk cId="4283907660" sldId="580"/>
        </pc:sldMkLst>
        <pc:spChg chg="mod">
          <ac:chgData name="Alana Rivera" userId="S::arg3669@ads.northwestern.edu::fc8b707a-b7e9-4f2a-8d71-2d76819b7881" providerId="AD" clId="Web-{FC194283-EEC6-0521-D05D-577D27A78776}" dt="2023-10-30T20:02:19.508" v="32"/>
          <ac:spMkLst>
            <pc:docMk/>
            <pc:sldMk cId="4283907660" sldId="580"/>
            <ac:spMk id="49" creationId="{00000000-0000-0000-0000-000000000000}"/>
          </ac:spMkLst>
        </pc:spChg>
        <pc:spChg chg="mod">
          <ac:chgData name="Alana Rivera" userId="S::arg3669@ads.northwestern.edu::fc8b707a-b7e9-4f2a-8d71-2d76819b7881" providerId="AD" clId="Web-{FC194283-EEC6-0521-D05D-577D27A78776}" dt="2023-10-30T20:02:19.540" v="33"/>
          <ac:spMkLst>
            <pc:docMk/>
            <pc:sldMk cId="4283907660" sldId="580"/>
            <ac:spMk id="50" creationId="{00000000-0000-0000-0000-000000000000}"/>
          </ac:spMkLst>
        </pc:spChg>
        <pc:spChg chg="mod">
          <ac:chgData name="Alana Rivera" userId="S::arg3669@ads.northwestern.edu::fc8b707a-b7e9-4f2a-8d71-2d76819b7881" providerId="AD" clId="Web-{FC194283-EEC6-0521-D05D-577D27A78776}" dt="2023-10-30T20:02:39.259" v="40" actId="20577"/>
          <ac:spMkLst>
            <pc:docMk/>
            <pc:sldMk cId="4283907660" sldId="580"/>
            <ac:spMk id="60" creationId="{00000000-0000-0000-0000-000000000000}"/>
          </ac:spMkLst>
        </pc:spChg>
        <pc:spChg chg="mod">
          <ac:chgData name="Alana Rivera" userId="S::arg3669@ads.northwestern.edu::fc8b707a-b7e9-4f2a-8d71-2d76819b7881" providerId="AD" clId="Web-{FC194283-EEC6-0521-D05D-577D27A78776}" dt="2023-10-30T20:02:32.149" v="38" actId="20577"/>
          <ac:spMkLst>
            <pc:docMk/>
            <pc:sldMk cId="4283907660" sldId="580"/>
            <ac:spMk id="61" creationId="{00000000-0000-0000-0000-000000000000}"/>
          </ac:spMkLst>
        </pc:spChg>
        <pc:spChg chg="mod">
          <ac:chgData name="Alana Rivera" userId="S::arg3669@ads.northwestern.edu::fc8b707a-b7e9-4f2a-8d71-2d76819b7881" providerId="AD" clId="Web-{FC194283-EEC6-0521-D05D-577D27A78776}" dt="2023-10-30T20:02:37.884" v="39" actId="20577"/>
          <ac:spMkLst>
            <pc:docMk/>
            <pc:sldMk cId="4283907660" sldId="580"/>
            <ac:spMk id="63" creationId="{00000000-0000-0000-0000-000000000000}"/>
          </ac:spMkLst>
        </pc:spChg>
        <pc:spChg chg="mod">
          <ac:chgData name="Alana Rivera" userId="S::arg3669@ads.northwestern.edu::fc8b707a-b7e9-4f2a-8d71-2d76819b7881" providerId="AD" clId="Web-{FC194283-EEC6-0521-D05D-577D27A78776}" dt="2023-10-30T20:02:28.790" v="37" actId="20577"/>
          <ac:spMkLst>
            <pc:docMk/>
            <pc:sldMk cId="4283907660" sldId="580"/>
            <ac:spMk id="64" creationId="{00000000-0000-0000-0000-000000000000}"/>
          </ac:spMkLst>
        </pc:spChg>
        <pc:spChg chg="mod">
          <ac:chgData name="Alana Rivera" userId="S::arg3669@ads.northwestern.edu::fc8b707a-b7e9-4f2a-8d71-2d76819b7881" providerId="AD" clId="Web-{FC194283-EEC6-0521-D05D-577D27A78776}" dt="2023-10-30T20:02:26.305" v="36" actId="20577"/>
          <ac:spMkLst>
            <pc:docMk/>
            <pc:sldMk cId="4283907660" sldId="580"/>
            <ac:spMk id="67" creationId="{00000000-0000-0000-0000-000000000000}"/>
          </ac:spMkLst>
        </pc:spChg>
        <pc:spChg chg="mod">
          <ac:chgData name="Alana Rivera" userId="S::arg3669@ads.northwestern.edu::fc8b707a-b7e9-4f2a-8d71-2d76819b7881" providerId="AD" clId="Web-{FC194283-EEC6-0521-D05D-577D27A78776}" dt="2023-10-30T20:02:25.024" v="35" actId="20577"/>
          <ac:spMkLst>
            <pc:docMk/>
            <pc:sldMk cId="4283907660" sldId="580"/>
            <ac:spMk id="68" creationId="{00000000-0000-0000-0000-000000000000}"/>
          </ac:spMkLst>
        </pc:spChg>
      </pc:sldChg>
      <pc:sldChg chg="addSp modSp">
        <pc:chgData name="Alana Rivera" userId="S::arg3669@ads.northwestern.edu::fc8b707a-b7e9-4f2a-8d71-2d76819b7881" providerId="AD" clId="Web-{FC194283-EEC6-0521-D05D-577D27A78776}" dt="2023-10-30T20:03:32.526" v="50" actId="20577"/>
        <pc:sldMkLst>
          <pc:docMk/>
          <pc:sldMk cId="3429940818" sldId="581"/>
        </pc:sldMkLst>
        <pc:spChg chg="mod">
          <ac:chgData name="Alana Rivera" userId="S::arg3669@ads.northwestern.edu::fc8b707a-b7e9-4f2a-8d71-2d76819b7881" providerId="AD" clId="Web-{FC194283-EEC6-0521-D05D-577D27A78776}" dt="2023-10-30T20:03:00.400" v="42"/>
          <ac:spMkLst>
            <pc:docMk/>
            <pc:sldMk cId="3429940818" sldId="581"/>
            <ac:spMk id="4" creationId="{00000000-0000-0000-0000-000000000000}"/>
          </ac:spMkLst>
        </pc:spChg>
        <pc:spChg chg="mod">
          <ac:chgData name="Alana Rivera" userId="S::arg3669@ads.northwestern.edu::fc8b707a-b7e9-4f2a-8d71-2d76819b7881" providerId="AD" clId="Web-{FC194283-EEC6-0521-D05D-577D27A78776}" dt="2023-10-30T20:03:00.432" v="43"/>
          <ac:spMkLst>
            <pc:docMk/>
            <pc:sldMk cId="3429940818" sldId="581"/>
            <ac:spMk id="5" creationId="{00000000-0000-0000-0000-000000000000}"/>
          </ac:spMkLst>
        </pc:spChg>
        <pc:spChg chg="mod">
          <ac:chgData name="Alana Rivera" userId="S::arg3669@ads.northwestern.edu::fc8b707a-b7e9-4f2a-8d71-2d76819b7881" providerId="AD" clId="Web-{FC194283-EEC6-0521-D05D-577D27A78776}" dt="2023-10-30T20:03:29.604" v="49" actId="20577"/>
          <ac:spMkLst>
            <pc:docMk/>
            <pc:sldMk cId="3429940818" sldId="581"/>
            <ac:spMk id="59" creationId="{00000000-0000-0000-0000-000000000000}"/>
          </ac:spMkLst>
        </pc:spChg>
        <pc:spChg chg="mod">
          <ac:chgData name="Alana Rivera" userId="S::arg3669@ads.northwestern.edu::fc8b707a-b7e9-4f2a-8d71-2d76819b7881" providerId="AD" clId="Web-{FC194283-EEC6-0521-D05D-577D27A78776}" dt="2023-10-30T20:03:32.526" v="50" actId="20577"/>
          <ac:spMkLst>
            <pc:docMk/>
            <pc:sldMk cId="3429940818" sldId="581"/>
            <ac:spMk id="63" creationId="{00000000-0000-0000-0000-000000000000}"/>
          </ac:spMkLst>
        </pc:spChg>
        <pc:spChg chg="mod">
          <ac:chgData name="Alana Rivera" userId="S::arg3669@ads.northwestern.edu::fc8b707a-b7e9-4f2a-8d71-2d76819b7881" providerId="AD" clId="Web-{FC194283-EEC6-0521-D05D-577D27A78776}" dt="2023-10-30T20:03:21.713" v="47" actId="20577"/>
          <ac:spMkLst>
            <pc:docMk/>
            <pc:sldMk cId="3429940818" sldId="581"/>
            <ac:spMk id="64" creationId="{00000000-0000-0000-0000-000000000000}"/>
          </ac:spMkLst>
        </pc:spChg>
        <pc:spChg chg="mod">
          <ac:chgData name="Alana Rivera" userId="S::arg3669@ads.northwestern.edu::fc8b707a-b7e9-4f2a-8d71-2d76819b7881" providerId="AD" clId="Web-{FC194283-EEC6-0521-D05D-577D27A78776}" dt="2023-10-30T20:03:24.745" v="48" actId="20577"/>
          <ac:spMkLst>
            <pc:docMk/>
            <pc:sldMk cId="3429940818" sldId="581"/>
            <ac:spMk id="67" creationId="{00000000-0000-0000-0000-000000000000}"/>
          </ac:spMkLst>
        </pc:spChg>
        <pc:spChg chg="mod">
          <ac:chgData name="Alana Rivera" userId="S::arg3669@ads.northwestern.edu::fc8b707a-b7e9-4f2a-8d71-2d76819b7881" providerId="AD" clId="Web-{FC194283-EEC6-0521-D05D-577D27A78776}" dt="2023-10-30T20:03:17.995" v="46" actId="1076"/>
          <ac:spMkLst>
            <pc:docMk/>
            <pc:sldMk cId="3429940818" sldId="581"/>
            <ac:spMk id="69" creationId="{00000000-0000-0000-0000-000000000000}"/>
          </ac:spMkLst>
        </pc:spChg>
        <pc:spChg chg="mod">
          <ac:chgData name="Alana Rivera" userId="S::arg3669@ads.northwestern.edu::fc8b707a-b7e9-4f2a-8d71-2d76819b7881" providerId="AD" clId="Web-{FC194283-EEC6-0521-D05D-577D27A78776}" dt="2023-10-30T20:02:56.338" v="41" actId="20577"/>
          <ac:spMkLst>
            <pc:docMk/>
            <pc:sldMk cId="3429940818" sldId="581"/>
            <ac:spMk id="70" creationId="{00000000-0000-0000-0000-000000000000}"/>
          </ac:spMkLst>
        </pc:spChg>
        <pc:spChg chg="mod">
          <ac:chgData name="Alana Rivera" userId="S::arg3669@ads.northwestern.edu::fc8b707a-b7e9-4f2a-8d71-2d76819b7881" providerId="AD" clId="Web-{FC194283-EEC6-0521-D05D-577D27A78776}" dt="2023-10-30T20:00:47.334" v="17" actId="20577"/>
          <ac:spMkLst>
            <pc:docMk/>
            <pc:sldMk cId="3429940818" sldId="581"/>
            <ac:spMk id="73" creationId="{1A989E17-799A-6415-ED4B-A44CCA00B657}"/>
          </ac:spMkLst>
        </pc:spChg>
        <pc:spChg chg="add mod">
          <ac:chgData name="Alana Rivera" userId="S::arg3669@ads.northwestern.edu::fc8b707a-b7e9-4f2a-8d71-2d76819b7881" providerId="AD" clId="Web-{FC194283-EEC6-0521-D05D-577D27A78776}" dt="2023-10-30T20:00:44.552" v="16" actId="1076"/>
          <ac:spMkLst>
            <pc:docMk/>
            <pc:sldMk cId="3429940818" sldId="581"/>
            <ac:spMk id="75" creationId="{20D2DCD7-9B15-FB75-E33B-CECC88A394B8}"/>
          </ac:spMkLst>
        </pc:spChg>
      </pc:sldChg>
      <pc:sldChg chg="modSp">
        <pc:chgData name="Alana Rivera" userId="S::arg3669@ads.northwestern.edu::fc8b707a-b7e9-4f2a-8d71-2d76819b7881" providerId="AD" clId="Web-{FC194283-EEC6-0521-D05D-577D27A78776}" dt="2023-10-30T19:54:28.463" v="13"/>
        <pc:sldMkLst>
          <pc:docMk/>
          <pc:sldMk cId="3850125703" sldId="622"/>
        </pc:sldMkLst>
        <pc:spChg chg="mod">
          <ac:chgData name="Alana Rivera" userId="S::arg3669@ads.northwestern.edu::fc8b707a-b7e9-4f2a-8d71-2d76819b7881" providerId="AD" clId="Web-{FC194283-EEC6-0521-D05D-577D27A78776}" dt="2023-10-30T19:54:13.603" v="8"/>
          <ac:spMkLst>
            <pc:docMk/>
            <pc:sldMk cId="3850125703" sldId="622"/>
            <ac:spMk id="43" creationId="{00000000-0000-0000-0000-000000000000}"/>
          </ac:spMkLst>
        </pc:spChg>
        <pc:spChg chg="mod">
          <ac:chgData name="Alana Rivera" userId="S::arg3669@ads.northwestern.edu::fc8b707a-b7e9-4f2a-8d71-2d76819b7881" providerId="AD" clId="Web-{FC194283-EEC6-0521-D05D-577D27A78776}" dt="2023-10-30T19:54:13.619" v="9"/>
          <ac:spMkLst>
            <pc:docMk/>
            <pc:sldMk cId="3850125703" sldId="622"/>
            <ac:spMk id="44" creationId="{00000000-0000-0000-0000-000000000000}"/>
          </ac:spMkLst>
        </pc:spChg>
        <pc:spChg chg="mod">
          <ac:chgData name="Alana Rivera" userId="S::arg3669@ads.northwestern.edu::fc8b707a-b7e9-4f2a-8d71-2d76819b7881" providerId="AD" clId="Web-{FC194283-EEC6-0521-D05D-577D27A78776}" dt="2023-10-30T19:54:28.463" v="13"/>
          <ac:spMkLst>
            <pc:docMk/>
            <pc:sldMk cId="3850125703" sldId="622"/>
            <ac:spMk id="46" creationId="{00000000-0000-0000-0000-000000000000}"/>
          </ac:spMkLst>
        </pc:spChg>
        <pc:spChg chg="mod">
          <ac:chgData name="Alana Rivera" userId="S::arg3669@ads.northwestern.edu::fc8b707a-b7e9-4f2a-8d71-2d76819b7881" providerId="AD" clId="Web-{FC194283-EEC6-0521-D05D-577D27A78776}" dt="2023-10-30T19:54:28.463" v="12"/>
          <ac:spMkLst>
            <pc:docMk/>
            <pc:sldMk cId="3850125703" sldId="622"/>
            <ac:spMk id="47" creationId="{00000000-0000-0000-0000-000000000000}"/>
          </ac:spMkLst>
        </pc:spChg>
        <pc:spChg chg="mod">
          <ac:chgData name="Alana Rivera" userId="S::arg3669@ads.northwestern.edu::fc8b707a-b7e9-4f2a-8d71-2d76819b7881" providerId="AD" clId="Web-{FC194283-EEC6-0521-D05D-577D27A78776}" dt="2023-10-30T19:53:22.024" v="4"/>
          <ac:spMkLst>
            <pc:docMk/>
            <pc:sldMk cId="3850125703" sldId="622"/>
            <ac:spMk id="49" creationId="{00000000-0000-0000-0000-000000000000}"/>
          </ac:spMkLst>
        </pc:spChg>
      </pc:sldChg>
    </pc:docChg>
  </pc:docChgLst>
  <pc:docChgLst>
    <pc:chgData name="Alana Rivera" userId="S::arg3669@ads.northwestern.edu::fc8b707a-b7e9-4f2a-8d71-2d76819b7881" providerId="AD" clId="Web-{300BD813-CD9C-8649-0637-C0ACE24151DD}"/>
    <pc:docChg chg="addSld delSld modSld sldOrd">
      <pc:chgData name="Alana Rivera" userId="S::arg3669@ads.northwestern.edu::fc8b707a-b7e9-4f2a-8d71-2d76819b7881" providerId="AD" clId="Web-{300BD813-CD9C-8649-0637-C0ACE24151DD}" dt="2023-10-26T17:23:46.185" v="32" actId="20577"/>
      <pc:docMkLst>
        <pc:docMk/>
      </pc:docMkLst>
      <pc:sldChg chg="del">
        <pc:chgData name="Alana Rivera" userId="S::arg3669@ads.northwestern.edu::fc8b707a-b7e9-4f2a-8d71-2d76819b7881" providerId="AD" clId="Web-{300BD813-CD9C-8649-0637-C0ACE24151DD}" dt="2023-10-26T17:18:35.956" v="18"/>
        <pc:sldMkLst>
          <pc:docMk/>
          <pc:sldMk cId="2997078466" sldId="557"/>
        </pc:sldMkLst>
      </pc:sldChg>
      <pc:sldChg chg="add del ord">
        <pc:chgData name="Alana Rivera" userId="S::arg3669@ads.northwestern.edu::fc8b707a-b7e9-4f2a-8d71-2d76819b7881" providerId="AD" clId="Web-{300BD813-CD9C-8649-0637-C0ACE24151DD}" dt="2023-10-26T17:21:29.055" v="25"/>
        <pc:sldMkLst>
          <pc:docMk/>
          <pc:sldMk cId="2564870475" sldId="566"/>
        </pc:sldMkLst>
      </pc:sldChg>
      <pc:sldChg chg="add del ord">
        <pc:chgData name="Alana Rivera" userId="S::arg3669@ads.northwestern.edu::fc8b707a-b7e9-4f2a-8d71-2d76819b7881" providerId="AD" clId="Web-{300BD813-CD9C-8649-0637-C0ACE24151DD}" dt="2023-10-26T17:21:29.055" v="24"/>
        <pc:sldMkLst>
          <pc:docMk/>
          <pc:sldMk cId="3419957415" sldId="577"/>
        </pc:sldMkLst>
      </pc:sldChg>
      <pc:sldChg chg="add">
        <pc:chgData name="Alana Rivera" userId="S::arg3669@ads.northwestern.edu::fc8b707a-b7e9-4f2a-8d71-2d76819b7881" providerId="AD" clId="Web-{300BD813-CD9C-8649-0637-C0ACE24151DD}" dt="2023-10-26T17:04:53.337" v="0"/>
        <pc:sldMkLst>
          <pc:docMk/>
          <pc:sldMk cId="785115983" sldId="578"/>
        </pc:sldMkLst>
      </pc:sldChg>
      <pc:sldChg chg="add">
        <pc:chgData name="Alana Rivera" userId="S::arg3669@ads.northwestern.edu::fc8b707a-b7e9-4f2a-8d71-2d76819b7881" providerId="AD" clId="Web-{300BD813-CD9C-8649-0637-C0ACE24151DD}" dt="2023-10-26T17:04:54.196" v="1"/>
        <pc:sldMkLst>
          <pc:docMk/>
          <pc:sldMk cId="3030449316" sldId="579"/>
        </pc:sldMkLst>
      </pc:sldChg>
      <pc:sldChg chg="add">
        <pc:chgData name="Alana Rivera" userId="S::arg3669@ads.northwestern.edu::fc8b707a-b7e9-4f2a-8d71-2d76819b7881" providerId="AD" clId="Web-{300BD813-CD9C-8649-0637-C0ACE24151DD}" dt="2023-10-26T17:04:56.431" v="2"/>
        <pc:sldMkLst>
          <pc:docMk/>
          <pc:sldMk cId="4283907660" sldId="580"/>
        </pc:sldMkLst>
      </pc:sldChg>
      <pc:sldChg chg="add">
        <pc:chgData name="Alana Rivera" userId="S::arg3669@ads.northwestern.edu::fc8b707a-b7e9-4f2a-8d71-2d76819b7881" providerId="AD" clId="Web-{300BD813-CD9C-8649-0637-C0ACE24151DD}" dt="2023-10-26T17:04:59.978" v="3"/>
        <pc:sldMkLst>
          <pc:docMk/>
          <pc:sldMk cId="3429940818" sldId="581"/>
        </pc:sldMkLst>
      </pc:sldChg>
      <pc:sldChg chg="add">
        <pc:chgData name="Alana Rivera" userId="S::arg3669@ads.northwestern.edu::fc8b707a-b7e9-4f2a-8d71-2d76819b7881" providerId="AD" clId="Web-{300BD813-CD9C-8649-0637-C0ACE24151DD}" dt="2023-10-26T17:05:01.665" v="4"/>
        <pc:sldMkLst>
          <pc:docMk/>
          <pc:sldMk cId="4156128006" sldId="582"/>
        </pc:sldMkLst>
      </pc:sldChg>
      <pc:sldChg chg="modSp add">
        <pc:chgData name="Alana Rivera" userId="S::arg3669@ads.northwestern.edu::fc8b707a-b7e9-4f2a-8d71-2d76819b7881" providerId="AD" clId="Web-{300BD813-CD9C-8649-0637-C0ACE24151DD}" dt="2023-10-26T17:23:46.185" v="32" actId="20577"/>
        <pc:sldMkLst>
          <pc:docMk/>
          <pc:sldMk cId="3870927286" sldId="583"/>
        </pc:sldMkLst>
        <pc:spChg chg="mod">
          <ac:chgData name="Alana Rivera" userId="S::arg3669@ads.northwestern.edu::fc8b707a-b7e9-4f2a-8d71-2d76819b7881" providerId="AD" clId="Web-{300BD813-CD9C-8649-0637-C0ACE24151DD}" dt="2023-10-26T17:23:46.185" v="32" actId="20577"/>
          <ac:spMkLst>
            <pc:docMk/>
            <pc:sldMk cId="3870927286" sldId="583"/>
            <ac:spMk id="2" creationId="{00000000-0000-0000-0000-000000000000}"/>
          </ac:spMkLst>
        </pc:spChg>
        <pc:spChg chg="mod">
          <ac:chgData name="Alana Rivera" userId="S::arg3669@ads.northwestern.edu::fc8b707a-b7e9-4f2a-8d71-2d76819b7881" providerId="AD" clId="Web-{300BD813-CD9C-8649-0637-C0ACE24151DD}" dt="2023-10-26T17:18:03.096" v="14" actId="14100"/>
          <ac:spMkLst>
            <pc:docMk/>
            <pc:sldMk cId="3870927286" sldId="583"/>
            <ac:spMk id="13" creationId="{00000000-0000-0000-0000-000000000000}"/>
          </ac:spMkLst>
        </pc:spChg>
        <pc:spChg chg="mod">
          <ac:chgData name="Alana Rivera" userId="S::arg3669@ads.northwestern.edu::fc8b707a-b7e9-4f2a-8d71-2d76819b7881" providerId="AD" clId="Web-{300BD813-CD9C-8649-0637-C0ACE24151DD}" dt="2023-10-26T17:18:12.878" v="15" actId="1076"/>
          <ac:spMkLst>
            <pc:docMk/>
            <pc:sldMk cId="3870927286" sldId="583"/>
            <ac:spMk id="40" creationId="{00000000-0000-0000-0000-000000000000}"/>
          </ac:spMkLst>
        </pc:spChg>
        <pc:grpChg chg="mod">
          <ac:chgData name="Alana Rivera" userId="S::arg3669@ads.northwestern.edu::fc8b707a-b7e9-4f2a-8d71-2d76819b7881" providerId="AD" clId="Web-{300BD813-CD9C-8649-0637-C0ACE24151DD}" dt="2023-10-26T17:18:02.987" v="13" actId="14100"/>
          <ac:grpSpMkLst>
            <pc:docMk/>
            <pc:sldMk cId="3870927286" sldId="583"/>
            <ac:grpSpMk id="6" creationId="{00000000-0000-0000-0000-000000000000}"/>
          </ac:grpSpMkLst>
        </pc:grpChg>
        <pc:grpChg chg="mod">
          <ac:chgData name="Alana Rivera" userId="S::arg3669@ads.northwestern.edu::fc8b707a-b7e9-4f2a-8d71-2d76819b7881" providerId="AD" clId="Web-{300BD813-CD9C-8649-0637-C0ACE24151DD}" dt="2023-10-26T17:18:22.550" v="17" actId="14100"/>
          <ac:grpSpMkLst>
            <pc:docMk/>
            <pc:sldMk cId="3870927286" sldId="583"/>
            <ac:grpSpMk id="15" creationId="{00000000-0000-0000-0000-000000000000}"/>
          </ac:grpSpMkLst>
        </pc:grpChg>
        <pc:grpChg chg="mod">
          <ac:chgData name="Alana Rivera" userId="S::arg3669@ads.northwestern.edu::fc8b707a-b7e9-4f2a-8d71-2d76819b7881" providerId="AD" clId="Web-{300BD813-CD9C-8649-0637-C0ACE24151DD}" dt="2023-10-26T17:17:40.751" v="10" actId="14100"/>
          <ac:grpSpMkLst>
            <pc:docMk/>
            <pc:sldMk cId="3870927286" sldId="583"/>
            <ac:grpSpMk id="33" creationId="{00000000-0000-0000-0000-000000000000}"/>
          </ac:grpSpMkLst>
        </pc:grpChg>
      </pc:sldChg>
      <pc:sldChg chg="add">
        <pc:chgData name="Alana Rivera" userId="S::arg3669@ads.northwestern.edu::fc8b707a-b7e9-4f2a-8d71-2d76819b7881" providerId="AD" clId="Web-{300BD813-CD9C-8649-0637-C0ACE24151DD}" dt="2023-10-26T17:18:48.004" v="19"/>
        <pc:sldMkLst>
          <pc:docMk/>
          <pc:sldMk cId="3573947264" sldId="584"/>
        </pc:sldMkLst>
      </pc:sldChg>
    </pc:docChg>
  </pc:docChgLst>
  <pc:docChgLst>
    <pc:chgData name="Eileen Fleming Suse" userId="S::efs3844@ads.northwestern.edu::725c94ef-d051-42d7-9d33-8572765d592b" providerId="AD" clId="Web-{61DCECB8-FCC4-463F-180A-DE94BEA715D4}"/>
    <pc:docChg chg="addSld delSld modSld">
      <pc:chgData name="Eileen Fleming Suse" userId="S::efs3844@ads.northwestern.edu::725c94ef-d051-42d7-9d33-8572765d592b" providerId="AD" clId="Web-{61DCECB8-FCC4-463F-180A-DE94BEA715D4}" dt="2023-10-30T22:49:41.685" v="398" actId="20577"/>
      <pc:docMkLst>
        <pc:docMk/>
      </pc:docMkLst>
      <pc:sldChg chg="modSp">
        <pc:chgData name="Eileen Fleming Suse" userId="S::efs3844@ads.northwestern.edu::725c94ef-d051-42d7-9d33-8572765d592b" providerId="AD" clId="Web-{61DCECB8-FCC4-463F-180A-DE94BEA715D4}" dt="2023-10-30T20:17:56.590" v="268" actId="1076"/>
        <pc:sldMkLst>
          <pc:docMk/>
          <pc:sldMk cId="4044691067" sldId="283"/>
        </pc:sldMkLst>
        <pc:spChg chg="mod">
          <ac:chgData name="Eileen Fleming Suse" userId="S::efs3844@ads.northwestern.edu::725c94ef-d051-42d7-9d33-8572765d592b" providerId="AD" clId="Web-{61DCECB8-FCC4-463F-180A-DE94BEA715D4}" dt="2023-10-30T20:17:22.746" v="261" actId="1076"/>
          <ac:spMkLst>
            <pc:docMk/>
            <pc:sldMk cId="4044691067" sldId="283"/>
            <ac:spMk id="2" creationId="{00000000-0000-0000-0000-000000000000}"/>
          </ac:spMkLst>
        </pc:spChg>
        <pc:spChg chg="mod">
          <ac:chgData name="Eileen Fleming Suse" userId="S::efs3844@ads.northwestern.edu::725c94ef-d051-42d7-9d33-8572765d592b" providerId="AD" clId="Web-{61DCECB8-FCC4-463F-180A-DE94BEA715D4}" dt="2023-10-30T20:17:54.262" v="267" actId="20577"/>
          <ac:spMkLst>
            <pc:docMk/>
            <pc:sldMk cId="4044691067" sldId="283"/>
            <ac:spMk id="3" creationId="{00000000-0000-0000-0000-000000000000}"/>
          </ac:spMkLst>
        </pc:spChg>
        <pc:spChg chg="mod">
          <ac:chgData name="Eileen Fleming Suse" userId="S::efs3844@ads.northwestern.edu::725c94ef-d051-42d7-9d33-8572765d592b" providerId="AD" clId="Web-{61DCECB8-FCC4-463F-180A-DE94BEA715D4}" dt="2023-10-30T20:17:56.590" v="268" actId="1076"/>
          <ac:spMkLst>
            <pc:docMk/>
            <pc:sldMk cId="4044691067" sldId="283"/>
            <ac:spMk id="16387" creationId="{00000000-0000-0000-0000-000000000000}"/>
          </ac:spMkLst>
        </pc:spChg>
      </pc:sldChg>
      <pc:sldChg chg="addSp delSp modSp del">
        <pc:chgData name="Eileen Fleming Suse" userId="S::efs3844@ads.northwestern.edu::725c94ef-d051-42d7-9d33-8572765d592b" providerId="AD" clId="Web-{61DCECB8-FCC4-463F-180A-DE94BEA715D4}" dt="2023-10-30T22:38:32.619" v="293"/>
        <pc:sldMkLst>
          <pc:docMk/>
          <pc:sldMk cId="2351229145" sldId="544"/>
        </pc:sldMkLst>
        <pc:spChg chg="add del mod">
          <ac:chgData name="Eileen Fleming Suse" userId="S::efs3844@ads.northwestern.edu::725c94ef-d051-42d7-9d33-8572765d592b" providerId="AD" clId="Web-{61DCECB8-FCC4-463F-180A-DE94BEA715D4}" dt="2023-10-30T20:36:38.882" v="271"/>
          <ac:spMkLst>
            <pc:docMk/>
            <pc:sldMk cId="2351229145" sldId="544"/>
            <ac:spMk id="4" creationId="{30128E86-7FC0-DAF8-2B3B-BC30C65B2BC6}"/>
          </ac:spMkLst>
        </pc:spChg>
      </pc:sldChg>
      <pc:sldChg chg="addSp delSp modSp mod setBg">
        <pc:chgData name="Eileen Fleming Suse" userId="S::efs3844@ads.northwestern.edu::725c94ef-d051-42d7-9d33-8572765d592b" providerId="AD" clId="Web-{61DCECB8-FCC4-463F-180A-DE94BEA715D4}" dt="2023-10-30T22:41:05.686" v="304"/>
        <pc:sldMkLst>
          <pc:docMk/>
          <pc:sldMk cId="3635595752" sldId="545"/>
        </pc:sldMkLst>
        <pc:spChg chg="mod">
          <ac:chgData name="Eileen Fleming Suse" userId="S::efs3844@ads.northwestern.edu::725c94ef-d051-42d7-9d33-8572765d592b" providerId="AD" clId="Web-{61DCECB8-FCC4-463F-180A-DE94BEA715D4}" dt="2023-10-30T22:40:13.497" v="300"/>
          <ac:spMkLst>
            <pc:docMk/>
            <pc:sldMk cId="3635595752" sldId="545"/>
            <ac:spMk id="2" creationId="{39AAB3FF-760A-B654-5F1B-78AD5BEB6B57}"/>
          </ac:spMkLst>
        </pc:spChg>
        <pc:spChg chg="mod">
          <ac:chgData name="Eileen Fleming Suse" userId="S::efs3844@ads.northwestern.edu::725c94ef-d051-42d7-9d33-8572765d592b" providerId="AD" clId="Web-{61DCECB8-FCC4-463F-180A-DE94BEA715D4}" dt="2023-10-30T22:40:13.497" v="300"/>
          <ac:spMkLst>
            <pc:docMk/>
            <pc:sldMk cId="3635595752" sldId="545"/>
            <ac:spMk id="3" creationId="{BFE56240-A306-0E11-425A-7323821A42F2}"/>
          </ac:spMkLst>
        </pc:spChg>
        <pc:spChg chg="add">
          <ac:chgData name="Eileen Fleming Suse" userId="S::efs3844@ads.northwestern.edu::725c94ef-d051-42d7-9d33-8572765d592b" providerId="AD" clId="Web-{61DCECB8-FCC4-463F-180A-DE94BEA715D4}" dt="2023-10-30T22:40:13.497" v="300"/>
          <ac:spMkLst>
            <pc:docMk/>
            <pc:sldMk cId="3635595752" sldId="545"/>
            <ac:spMk id="9" creationId="{4FA4E651-C3D8-4DB8-A026-E8531C6AFACC}"/>
          </ac:spMkLst>
        </pc:spChg>
        <pc:picChg chg="add mod">
          <ac:chgData name="Eileen Fleming Suse" userId="S::efs3844@ads.northwestern.edu::725c94ef-d051-42d7-9d33-8572765d592b" providerId="AD" clId="Web-{61DCECB8-FCC4-463F-180A-DE94BEA715D4}" dt="2023-10-30T22:40:13.497" v="300"/>
          <ac:picMkLst>
            <pc:docMk/>
            <pc:sldMk cId="3635595752" sldId="545"/>
            <ac:picMk id="4" creationId="{6982FC6C-870A-2D17-4241-681C88EEE4A9}"/>
          </ac:picMkLst>
        </pc:picChg>
        <pc:picChg chg="add del mod">
          <ac:chgData name="Eileen Fleming Suse" userId="S::efs3844@ads.northwestern.edu::725c94ef-d051-42d7-9d33-8572765d592b" providerId="AD" clId="Web-{61DCECB8-FCC4-463F-180A-DE94BEA715D4}" dt="2023-10-30T22:41:05.686" v="304"/>
          <ac:picMkLst>
            <pc:docMk/>
            <pc:sldMk cId="3635595752" sldId="545"/>
            <ac:picMk id="5" creationId="{1419DCC6-DC00-7882-A9B3-86F4E9C29BF1}"/>
          </ac:picMkLst>
        </pc:picChg>
      </pc:sldChg>
      <pc:sldChg chg="addSp modSp mod setBg addAnim">
        <pc:chgData name="Eileen Fleming Suse" userId="S::efs3844@ads.northwestern.edu::725c94ef-d051-42d7-9d33-8572765d592b" providerId="AD" clId="Web-{61DCECB8-FCC4-463F-180A-DE94BEA715D4}" dt="2023-10-30T22:47:53.463" v="364" actId="20577"/>
        <pc:sldMkLst>
          <pc:docMk/>
          <pc:sldMk cId="1036043289" sldId="546"/>
        </pc:sldMkLst>
        <pc:spChg chg="mod">
          <ac:chgData name="Eileen Fleming Suse" userId="S::efs3844@ads.northwestern.edu::725c94ef-d051-42d7-9d33-8572765d592b" providerId="AD" clId="Web-{61DCECB8-FCC4-463F-180A-DE94BEA715D4}" dt="2023-10-30T22:46:29.367" v="353"/>
          <ac:spMkLst>
            <pc:docMk/>
            <pc:sldMk cId="1036043289" sldId="546"/>
            <ac:spMk id="2" creationId="{67E16CF5-47C8-BEAD-25F8-81514DC0AF8B}"/>
          </ac:spMkLst>
        </pc:spChg>
        <pc:spChg chg="mod">
          <ac:chgData name="Eileen Fleming Suse" userId="S::efs3844@ads.northwestern.edu::725c94ef-d051-42d7-9d33-8572765d592b" providerId="AD" clId="Web-{61DCECB8-FCC4-463F-180A-DE94BEA715D4}" dt="2023-10-30T22:47:53.463" v="364" actId="20577"/>
          <ac:spMkLst>
            <pc:docMk/>
            <pc:sldMk cId="1036043289" sldId="546"/>
            <ac:spMk id="3" creationId="{BACE41BD-1CAE-1299-918F-5B1678DE12B4}"/>
          </ac:spMkLst>
        </pc:spChg>
        <pc:spChg chg="add">
          <ac:chgData name="Eileen Fleming Suse" userId="S::efs3844@ads.northwestern.edu::725c94ef-d051-42d7-9d33-8572765d592b" providerId="AD" clId="Web-{61DCECB8-FCC4-463F-180A-DE94BEA715D4}" dt="2023-10-30T22:46:29.367" v="353"/>
          <ac:spMkLst>
            <pc:docMk/>
            <pc:sldMk cId="1036043289" sldId="546"/>
            <ac:spMk id="9" creationId="{E91DC736-0EF8-4F87-9146-EBF1D2EE4D3D}"/>
          </ac:spMkLst>
        </pc:spChg>
        <pc:spChg chg="add">
          <ac:chgData name="Eileen Fleming Suse" userId="S::efs3844@ads.northwestern.edu::725c94ef-d051-42d7-9d33-8572765d592b" providerId="AD" clId="Web-{61DCECB8-FCC4-463F-180A-DE94BEA715D4}" dt="2023-10-30T22:46:29.367" v="353"/>
          <ac:spMkLst>
            <pc:docMk/>
            <pc:sldMk cId="1036043289" sldId="546"/>
            <ac:spMk id="11" creationId="{097CD68E-23E3-4007-8847-CD0944C4F7BE}"/>
          </ac:spMkLst>
        </pc:spChg>
        <pc:spChg chg="add">
          <ac:chgData name="Eileen Fleming Suse" userId="S::efs3844@ads.northwestern.edu::725c94ef-d051-42d7-9d33-8572765d592b" providerId="AD" clId="Web-{61DCECB8-FCC4-463F-180A-DE94BEA715D4}" dt="2023-10-30T22:46:29.367" v="353"/>
          <ac:spMkLst>
            <pc:docMk/>
            <pc:sldMk cId="1036043289" sldId="546"/>
            <ac:spMk id="13" creationId="{AF2F604E-43BE-4DC3-B983-E071523364F8}"/>
          </ac:spMkLst>
        </pc:spChg>
        <pc:spChg chg="add">
          <ac:chgData name="Eileen Fleming Suse" userId="S::efs3844@ads.northwestern.edu::725c94ef-d051-42d7-9d33-8572765d592b" providerId="AD" clId="Web-{61DCECB8-FCC4-463F-180A-DE94BEA715D4}" dt="2023-10-30T22:46:29.367" v="353"/>
          <ac:spMkLst>
            <pc:docMk/>
            <pc:sldMk cId="1036043289" sldId="546"/>
            <ac:spMk id="15" creationId="{08C9B587-E65E-4B52-B37C-ABEBB6E87928}"/>
          </ac:spMkLst>
        </pc:spChg>
        <pc:picChg chg="add mod ord">
          <ac:chgData name="Eileen Fleming Suse" userId="S::efs3844@ads.northwestern.edu::725c94ef-d051-42d7-9d33-8572765d592b" providerId="AD" clId="Web-{61DCECB8-FCC4-463F-180A-DE94BEA715D4}" dt="2023-10-30T22:46:29.367" v="353"/>
          <ac:picMkLst>
            <pc:docMk/>
            <pc:sldMk cId="1036043289" sldId="546"/>
            <ac:picMk id="4" creationId="{9E0544A9-5CC0-A8B3-0447-4C7A5380BF18}"/>
          </ac:picMkLst>
        </pc:picChg>
      </pc:sldChg>
      <pc:sldChg chg="modSp">
        <pc:chgData name="Eileen Fleming Suse" userId="S::efs3844@ads.northwestern.edu::725c94ef-d051-42d7-9d33-8572765d592b" providerId="AD" clId="Web-{61DCECB8-FCC4-463F-180A-DE94BEA715D4}" dt="2023-10-30T20:06:03.401" v="185" actId="1076"/>
        <pc:sldMkLst>
          <pc:docMk/>
          <pc:sldMk cId="3472964082" sldId="550"/>
        </pc:sldMkLst>
        <pc:spChg chg="mod">
          <ac:chgData name="Eileen Fleming Suse" userId="S::efs3844@ads.northwestern.edu::725c94ef-d051-42d7-9d33-8572765d592b" providerId="AD" clId="Web-{61DCECB8-FCC4-463F-180A-DE94BEA715D4}" dt="2023-10-30T20:06:03.401" v="185" actId="1076"/>
          <ac:spMkLst>
            <pc:docMk/>
            <pc:sldMk cId="3472964082" sldId="550"/>
            <ac:spMk id="14" creationId="{00000000-0000-0000-0000-000000000000}"/>
          </ac:spMkLst>
        </pc:spChg>
      </pc:sldChg>
      <pc:sldChg chg="modSp">
        <pc:chgData name="Eileen Fleming Suse" userId="S::efs3844@ads.northwestern.edu::725c94ef-d051-42d7-9d33-8572765d592b" providerId="AD" clId="Web-{61DCECB8-FCC4-463F-180A-DE94BEA715D4}" dt="2023-10-30T20:05:10.400" v="170" actId="1076"/>
        <pc:sldMkLst>
          <pc:docMk/>
          <pc:sldMk cId="2562283095" sldId="551"/>
        </pc:sldMkLst>
        <pc:spChg chg="mod">
          <ac:chgData name="Eileen Fleming Suse" userId="S::efs3844@ads.northwestern.edu::725c94ef-d051-42d7-9d33-8572765d592b" providerId="AD" clId="Web-{61DCECB8-FCC4-463F-180A-DE94BEA715D4}" dt="2023-10-30T20:05:10.400" v="170" actId="1076"/>
          <ac:spMkLst>
            <pc:docMk/>
            <pc:sldMk cId="2562283095" sldId="551"/>
            <ac:spMk id="14" creationId="{00000000-0000-0000-0000-000000000000}"/>
          </ac:spMkLst>
        </pc:spChg>
        <pc:spChg chg="mod">
          <ac:chgData name="Eileen Fleming Suse" userId="S::efs3844@ads.northwestern.edu::725c94ef-d051-42d7-9d33-8572765d592b" providerId="AD" clId="Web-{61DCECB8-FCC4-463F-180A-DE94BEA715D4}" dt="2023-10-30T20:02:45.475" v="115" actId="20577"/>
          <ac:spMkLst>
            <pc:docMk/>
            <pc:sldMk cId="2562283095" sldId="551"/>
            <ac:spMk id="53" creationId="{00000000-0000-0000-0000-000000000000}"/>
          </ac:spMkLst>
        </pc:spChg>
      </pc:sldChg>
      <pc:sldChg chg="modSp">
        <pc:chgData name="Eileen Fleming Suse" userId="S::efs3844@ads.northwestern.edu::725c94ef-d051-42d7-9d33-8572765d592b" providerId="AD" clId="Web-{61DCECB8-FCC4-463F-180A-DE94BEA715D4}" dt="2023-10-30T20:12:03.738" v="229"/>
        <pc:sldMkLst>
          <pc:docMk/>
          <pc:sldMk cId="3067427377" sldId="560"/>
        </pc:sldMkLst>
        <pc:spChg chg="mod">
          <ac:chgData name="Eileen Fleming Suse" userId="S::efs3844@ads.northwestern.edu::725c94ef-d051-42d7-9d33-8572765d592b" providerId="AD" clId="Web-{61DCECB8-FCC4-463F-180A-DE94BEA715D4}" dt="2023-10-30T20:12:03.738" v="229"/>
          <ac:spMkLst>
            <pc:docMk/>
            <pc:sldMk cId="3067427377" sldId="560"/>
            <ac:spMk id="2" creationId="{85302686-DF06-3304-66CB-1E21F4D086DC}"/>
          </ac:spMkLst>
        </pc:spChg>
        <pc:spChg chg="mod">
          <ac:chgData name="Eileen Fleming Suse" userId="S::efs3844@ads.northwestern.edu::725c94ef-d051-42d7-9d33-8572765d592b" providerId="AD" clId="Web-{61DCECB8-FCC4-463F-180A-DE94BEA715D4}" dt="2023-10-30T20:09:47.266" v="199" actId="20577"/>
          <ac:spMkLst>
            <pc:docMk/>
            <pc:sldMk cId="3067427377" sldId="560"/>
            <ac:spMk id="3" creationId="{E7ECD19B-85BC-6652-2856-676802964CFA}"/>
          </ac:spMkLst>
        </pc:spChg>
      </pc:sldChg>
      <pc:sldChg chg="modSp">
        <pc:chgData name="Eileen Fleming Suse" userId="S::efs3844@ads.northwestern.edu::725c94ef-d051-42d7-9d33-8572765d592b" providerId="AD" clId="Web-{61DCECB8-FCC4-463F-180A-DE94BEA715D4}" dt="2023-10-30T20:15:17.508" v="249" actId="1076"/>
        <pc:sldMkLst>
          <pc:docMk/>
          <pc:sldMk cId="1141815353" sldId="562"/>
        </pc:sldMkLst>
        <pc:spChg chg="mod">
          <ac:chgData name="Eileen Fleming Suse" userId="S::efs3844@ads.northwestern.edu::725c94ef-d051-42d7-9d33-8572765d592b" providerId="AD" clId="Web-{61DCECB8-FCC4-463F-180A-DE94BEA715D4}" dt="2023-10-30T20:15:17.508" v="249" actId="1076"/>
          <ac:spMkLst>
            <pc:docMk/>
            <pc:sldMk cId="1141815353" sldId="562"/>
            <ac:spMk id="13" creationId="{2FC08365-C48A-7DB8-BBA6-D9EB552FFD55}"/>
          </ac:spMkLst>
        </pc:spChg>
      </pc:sldChg>
      <pc:sldChg chg="modSp">
        <pc:chgData name="Eileen Fleming Suse" userId="S::efs3844@ads.northwestern.edu::725c94ef-d051-42d7-9d33-8572765d592b" providerId="AD" clId="Web-{61DCECB8-FCC4-463F-180A-DE94BEA715D4}" dt="2023-10-30T19:48:03.501" v="41" actId="1076"/>
        <pc:sldMkLst>
          <pc:docMk/>
          <pc:sldMk cId="3845418986" sldId="563"/>
        </pc:sldMkLst>
        <pc:spChg chg="mod">
          <ac:chgData name="Eileen Fleming Suse" userId="S::efs3844@ads.northwestern.edu::725c94ef-d051-42d7-9d33-8572765d592b" providerId="AD" clId="Web-{61DCECB8-FCC4-463F-180A-DE94BEA715D4}" dt="2023-10-30T19:48:03.501" v="41" actId="1076"/>
          <ac:spMkLst>
            <pc:docMk/>
            <pc:sldMk cId="3845418986" sldId="563"/>
            <ac:spMk id="49" creationId="{4FD6BDF7-E6F5-6DC8-9332-E3E0DB7057F0}"/>
          </ac:spMkLst>
        </pc:spChg>
        <pc:spChg chg="mod">
          <ac:chgData name="Eileen Fleming Suse" userId="S::efs3844@ads.northwestern.edu::725c94ef-d051-42d7-9d33-8572765d592b" providerId="AD" clId="Web-{61DCECB8-FCC4-463F-180A-DE94BEA715D4}" dt="2023-10-30T19:47:58.329" v="39" actId="1076"/>
          <ac:spMkLst>
            <pc:docMk/>
            <pc:sldMk cId="3845418986" sldId="563"/>
            <ac:spMk id="51" creationId="{233EFC40-2641-E728-F412-79899FC6D0D7}"/>
          </ac:spMkLst>
        </pc:spChg>
        <pc:spChg chg="mod">
          <ac:chgData name="Eileen Fleming Suse" userId="S::efs3844@ads.northwestern.edu::725c94ef-d051-42d7-9d33-8572765d592b" providerId="AD" clId="Web-{61DCECB8-FCC4-463F-180A-DE94BEA715D4}" dt="2023-10-30T19:47:53.204" v="38" actId="1076"/>
          <ac:spMkLst>
            <pc:docMk/>
            <pc:sldMk cId="3845418986" sldId="563"/>
            <ac:spMk id="53" creationId="{66360ABF-1F2C-C63A-9187-17E2573B3DEB}"/>
          </ac:spMkLst>
        </pc:spChg>
      </pc:sldChg>
      <pc:sldChg chg="modSp">
        <pc:chgData name="Eileen Fleming Suse" userId="S::efs3844@ads.northwestern.edu::725c94ef-d051-42d7-9d33-8572765d592b" providerId="AD" clId="Web-{61DCECB8-FCC4-463F-180A-DE94BEA715D4}" dt="2023-10-30T19:47:07.218" v="36" actId="1076"/>
        <pc:sldMkLst>
          <pc:docMk/>
          <pc:sldMk cId="1536434647" sldId="564"/>
        </pc:sldMkLst>
        <pc:spChg chg="mod">
          <ac:chgData name="Eileen Fleming Suse" userId="S::efs3844@ads.northwestern.edu::725c94ef-d051-42d7-9d33-8572765d592b" providerId="AD" clId="Web-{61DCECB8-FCC4-463F-180A-DE94BEA715D4}" dt="2023-10-30T19:47:07.218" v="36" actId="1076"/>
          <ac:spMkLst>
            <pc:docMk/>
            <pc:sldMk cId="1536434647" sldId="564"/>
            <ac:spMk id="51" creationId="{DADB789B-D1D8-A439-C1FC-0121F131E706}"/>
          </ac:spMkLst>
        </pc:spChg>
        <pc:spChg chg="mod">
          <ac:chgData name="Eileen Fleming Suse" userId="S::efs3844@ads.northwestern.edu::725c94ef-d051-42d7-9d33-8572765d592b" providerId="AD" clId="Web-{61DCECB8-FCC4-463F-180A-DE94BEA715D4}" dt="2023-10-30T19:47:03.874" v="34" actId="1076"/>
          <ac:spMkLst>
            <pc:docMk/>
            <pc:sldMk cId="1536434647" sldId="564"/>
            <ac:spMk id="53" creationId="{7AA1F7FA-AA52-FED3-1784-BE66C8A7FBFC}"/>
          </ac:spMkLst>
        </pc:spChg>
        <pc:spChg chg="mod">
          <ac:chgData name="Eileen Fleming Suse" userId="S::efs3844@ads.northwestern.edu::725c94ef-d051-42d7-9d33-8572765d592b" providerId="AD" clId="Web-{61DCECB8-FCC4-463F-180A-DE94BEA715D4}" dt="2023-10-30T19:47:01.156" v="33" actId="1076"/>
          <ac:spMkLst>
            <pc:docMk/>
            <pc:sldMk cId="1536434647" sldId="564"/>
            <ac:spMk id="55" creationId="{20BABE46-A93F-751A-4C5F-3AC294D73230}"/>
          </ac:spMkLst>
        </pc:spChg>
      </pc:sldChg>
      <pc:sldChg chg="modSp">
        <pc:chgData name="Eileen Fleming Suse" userId="S::efs3844@ads.northwestern.edu::725c94ef-d051-42d7-9d33-8572765d592b" providerId="AD" clId="Web-{61DCECB8-FCC4-463F-180A-DE94BEA715D4}" dt="2023-10-30T22:49:24.356" v="387" actId="20577"/>
        <pc:sldMkLst>
          <pc:docMk/>
          <pc:sldMk cId="3870927286" sldId="583"/>
        </pc:sldMkLst>
        <pc:spChg chg="mod">
          <ac:chgData name="Eileen Fleming Suse" userId="S::efs3844@ads.northwestern.edu::725c94ef-d051-42d7-9d33-8572765d592b" providerId="AD" clId="Web-{61DCECB8-FCC4-463F-180A-DE94BEA715D4}" dt="2023-10-30T22:47:53.713" v="367" actId="1076"/>
          <ac:spMkLst>
            <pc:docMk/>
            <pc:sldMk cId="3870927286" sldId="583"/>
            <ac:spMk id="2" creationId="{00000000-0000-0000-0000-000000000000}"/>
          </ac:spMkLst>
        </pc:spChg>
        <pc:spChg chg="mod">
          <ac:chgData name="Eileen Fleming Suse" userId="S::efs3844@ads.northwestern.edu::725c94ef-d051-42d7-9d33-8572765d592b" providerId="AD" clId="Web-{61DCECB8-FCC4-463F-180A-DE94BEA715D4}" dt="2023-10-30T22:49:24.356" v="387" actId="20577"/>
          <ac:spMkLst>
            <pc:docMk/>
            <pc:sldMk cId="3870927286" sldId="583"/>
            <ac:spMk id="13" creationId="{00000000-0000-0000-0000-000000000000}"/>
          </ac:spMkLst>
        </pc:spChg>
        <pc:spChg chg="mod">
          <ac:chgData name="Eileen Fleming Suse" userId="S::efs3844@ads.northwestern.edu::725c94ef-d051-42d7-9d33-8572765d592b" providerId="AD" clId="Web-{61DCECB8-FCC4-463F-180A-DE94BEA715D4}" dt="2023-10-30T22:48:44.855" v="383" actId="1076"/>
          <ac:spMkLst>
            <pc:docMk/>
            <pc:sldMk cId="3870927286" sldId="583"/>
            <ac:spMk id="14" creationId="{00000000-0000-0000-0000-000000000000}"/>
          </ac:spMkLst>
        </pc:spChg>
        <pc:spChg chg="mod">
          <ac:chgData name="Eileen Fleming Suse" userId="S::efs3844@ads.northwestern.edu::725c94ef-d051-42d7-9d33-8572765d592b" providerId="AD" clId="Web-{61DCECB8-FCC4-463F-180A-DE94BEA715D4}" dt="2023-10-30T22:47:53.869" v="373" actId="1076"/>
          <ac:spMkLst>
            <pc:docMk/>
            <pc:sldMk cId="3870927286" sldId="583"/>
            <ac:spMk id="39" creationId="{00000000-0000-0000-0000-000000000000}"/>
          </ac:spMkLst>
        </pc:spChg>
        <pc:spChg chg="mod">
          <ac:chgData name="Eileen Fleming Suse" userId="S::efs3844@ads.northwestern.edu::725c94ef-d051-42d7-9d33-8572765d592b" providerId="AD" clId="Web-{61DCECB8-FCC4-463F-180A-DE94BEA715D4}" dt="2023-10-30T22:47:53.885" v="374" actId="1076"/>
          <ac:spMkLst>
            <pc:docMk/>
            <pc:sldMk cId="3870927286" sldId="583"/>
            <ac:spMk id="40" creationId="{00000000-0000-0000-0000-000000000000}"/>
          </ac:spMkLst>
        </pc:spChg>
        <pc:spChg chg="mod">
          <ac:chgData name="Eileen Fleming Suse" userId="S::efs3844@ads.northwestern.edu::725c94ef-d051-42d7-9d33-8572765d592b" providerId="AD" clId="Web-{61DCECB8-FCC4-463F-180A-DE94BEA715D4}" dt="2023-10-30T22:47:53.900" v="375" actId="1076"/>
          <ac:spMkLst>
            <pc:docMk/>
            <pc:sldMk cId="3870927286" sldId="583"/>
            <ac:spMk id="41" creationId="{00000000-0000-0000-0000-000000000000}"/>
          </ac:spMkLst>
        </pc:spChg>
        <pc:spChg chg="mod">
          <ac:chgData name="Eileen Fleming Suse" userId="S::efs3844@ads.northwestern.edu::725c94ef-d051-42d7-9d33-8572765d592b" providerId="AD" clId="Web-{61DCECB8-FCC4-463F-180A-DE94BEA715D4}" dt="2023-10-30T22:47:53.744" v="368" actId="1076"/>
          <ac:spMkLst>
            <pc:docMk/>
            <pc:sldMk cId="3870927286" sldId="583"/>
            <ac:spMk id="51" creationId="{00000000-0000-0000-0000-000000000000}"/>
          </ac:spMkLst>
        </pc:spChg>
        <pc:grpChg chg="mod">
          <ac:chgData name="Eileen Fleming Suse" userId="S::efs3844@ads.northwestern.edu::725c94ef-d051-42d7-9d33-8572765d592b" providerId="AD" clId="Web-{61DCECB8-FCC4-463F-180A-DE94BEA715D4}" dt="2023-10-30T22:48:23.542" v="380" actId="14100"/>
          <ac:grpSpMkLst>
            <pc:docMk/>
            <pc:sldMk cId="3870927286" sldId="583"/>
            <ac:grpSpMk id="3" creationId="{00000000-0000-0000-0000-000000000000}"/>
          </ac:grpSpMkLst>
        </pc:grpChg>
        <pc:grpChg chg="mod">
          <ac:chgData name="Eileen Fleming Suse" userId="S::efs3844@ads.northwestern.edu::725c94ef-d051-42d7-9d33-8572765d592b" providerId="AD" clId="Web-{61DCECB8-FCC4-463F-180A-DE94BEA715D4}" dt="2023-10-30T22:48:35.464" v="381" actId="1076"/>
          <ac:grpSpMkLst>
            <pc:docMk/>
            <pc:sldMk cId="3870927286" sldId="583"/>
            <ac:grpSpMk id="6" creationId="{00000000-0000-0000-0000-000000000000}"/>
          </ac:grpSpMkLst>
        </pc:grpChg>
        <pc:grpChg chg="mod">
          <ac:chgData name="Eileen Fleming Suse" userId="S::efs3844@ads.northwestern.edu::725c94ef-d051-42d7-9d33-8572765d592b" providerId="AD" clId="Web-{61DCECB8-FCC4-463F-180A-DE94BEA715D4}" dt="2023-10-30T22:48:36.042" v="382" actId="1076"/>
          <ac:grpSpMkLst>
            <pc:docMk/>
            <pc:sldMk cId="3870927286" sldId="583"/>
            <ac:grpSpMk id="9" creationId="{00000000-0000-0000-0000-000000000000}"/>
          </ac:grpSpMkLst>
        </pc:grpChg>
        <pc:grpChg chg="mod">
          <ac:chgData name="Eileen Fleming Suse" userId="S::efs3844@ads.northwestern.edu::725c94ef-d051-42d7-9d33-8572765d592b" providerId="AD" clId="Web-{61DCECB8-FCC4-463F-180A-DE94BEA715D4}" dt="2023-10-30T22:48:54.965" v="384" actId="14100"/>
          <ac:grpSpMkLst>
            <pc:docMk/>
            <pc:sldMk cId="3870927286" sldId="583"/>
            <ac:grpSpMk id="15" creationId="{00000000-0000-0000-0000-000000000000}"/>
          </ac:grpSpMkLst>
        </pc:grpChg>
        <pc:grpChg chg="mod">
          <ac:chgData name="Eileen Fleming Suse" userId="S::efs3844@ads.northwestern.edu::725c94ef-d051-42d7-9d33-8572765d592b" providerId="AD" clId="Web-{61DCECB8-FCC4-463F-180A-DE94BEA715D4}" dt="2023-10-30T22:49:04.090" v="385" actId="14100"/>
          <ac:grpSpMkLst>
            <pc:docMk/>
            <pc:sldMk cId="3870927286" sldId="583"/>
            <ac:grpSpMk id="21" creationId="{00000000-0000-0000-0000-000000000000}"/>
          </ac:grpSpMkLst>
        </pc:grpChg>
        <pc:grpChg chg="mod">
          <ac:chgData name="Eileen Fleming Suse" userId="S::efs3844@ads.northwestern.edu::725c94ef-d051-42d7-9d33-8572765d592b" providerId="AD" clId="Web-{61DCECB8-FCC4-463F-180A-DE94BEA715D4}" dt="2023-10-30T22:48:03.635" v="377" actId="14100"/>
          <ac:grpSpMkLst>
            <pc:docMk/>
            <pc:sldMk cId="3870927286" sldId="583"/>
            <ac:grpSpMk id="30" creationId="{00000000-0000-0000-0000-000000000000}"/>
          </ac:grpSpMkLst>
        </pc:grpChg>
        <pc:grpChg chg="mod">
          <ac:chgData name="Eileen Fleming Suse" userId="S::efs3844@ads.northwestern.edu::725c94ef-d051-42d7-9d33-8572765d592b" providerId="AD" clId="Web-{61DCECB8-FCC4-463F-180A-DE94BEA715D4}" dt="2023-10-30T22:48:13.416" v="378" actId="1076"/>
          <ac:grpSpMkLst>
            <pc:docMk/>
            <pc:sldMk cId="3870927286" sldId="583"/>
            <ac:grpSpMk id="33" creationId="{00000000-0000-0000-0000-000000000000}"/>
          </ac:grpSpMkLst>
        </pc:grpChg>
        <pc:grpChg chg="mod">
          <ac:chgData name="Eileen Fleming Suse" userId="S::efs3844@ads.northwestern.edu::725c94ef-d051-42d7-9d33-8572765d592b" providerId="AD" clId="Web-{61DCECB8-FCC4-463F-180A-DE94BEA715D4}" dt="2023-10-30T22:47:53.869" v="372" actId="1076"/>
          <ac:grpSpMkLst>
            <pc:docMk/>
            <pc:sldMk cId="3870927286" sldId="583"/>
            <ac:grpSpMk id="36" creationId="{00000000-0000-0000-0000-000000000000}"/>
          </ac:grpSpMkLst>
        </pc:grpChg>
        <pc:picChg chg="mod">
          <ac:chgData name="Eileen Fleming Suse" userId="S::efs3844@ads.northwestern.edu::725c94ef-d051-42d7-9d33-8572765d592b" providerId="AD" clId="Web-{61DCECB8-FCC4-463F-180A-DE94BEA715D4}" dt="2023-10-30T22:47:53.791" v="369" actId="1076"/>
          <ac:picMkLst>
            <pc:docMk/>
            <pc:sldMk cId="3870927286" sldId="583"/>
            <ac:picMk id="18" creationId="{1199796C-BA73-A007-E570-EBC0C69CD679}"/>
          </ac:picMkLst>
        </pc:picChg>
      </pc:sldChg>
      <pc:sldChg chg="modSp">
        <pc:chgData name="Eileen Fleming Suse" userId="S::efs3844@ads.northwestern.edu::725c94ef-d051-42d7-9d33-8572765d592b" providerId="AD" clId="Web-{61DCECB8-FCC4-463F-180A-DE94BEA715D4}" dt="2023-10-30T20:02:49.334" v="116" actId="20577"/>
        <pc:sldMkLst>
          <pc:docMk/>
          <pc:sldMk cId="3561966490" sldId="585"/>
        </pc:sldMkLst>
        <pc:spChg chg="mod">
          <ac:chgData name="Eileen Fleming Suse" userId="S::efs3844@ads.northwestern.edu::725c94ef-d051-42d7-9d33-8572765d592b" providerId="AD" clId="Web-{61DCECB8-FCC4-463F-180A-DE94BEA715D4}" dt="2023-10-30T20:02:49.334" v="116" actId="20577"/>
          <ac:spMkLst>
            <pc:docMk/>
            <pc:sldMk cId="3561966490" sldId="585"/>
            <ac:spMk id="7" creationId="{00000000-0000-0000-0000-000000000000}"/>
          </ac:spMkLst>
        </pc:spChg>
      </pc:sldChg>
      <pc:sldChg chg="modSp">
        <pc:chgData name="Eileen Fleming Suse" userId="S::efs3844@ads.northwestern.edu::725c94ef-d051-42d7-9d33-8572765d592b" providerId="AD" clId="Web-{61DCECB8-FCC4-463F-180A-DE94BEA715D4}" dt="2023-10-30T19:53:05.930" v="77" actId="14100"/>
        <pc:sldMkLst>
          <pc:docMk/>
          <pc:sldMk cId="3809547791" sldId="586"/>
        </pc:sldMkLst>
        <pc:spChg chg="mod">
          <ac:chgData name="Eileen Fleming Suse" userId="S::efs3844@ads.northwestern.edu::725c94ef-d051-42d7-9d33-8572765d592b" providerId="AD" clId="Web-{61DCECB8-FCC4-463F-180A-DE94BEA715D4}" dt="2023-10-30T19:53:05.930" v="77" actId="14100"/>
          <ac:spMkLst>
            <pc:docMk/>
            <pc:sldMk cId="3809547791" sldId="586"/>
            <ac:spMk id="45" creationId="{C77E478B-4FF6-99F3-8EF6-9EC4CBF20CDC}"/>
          </ac:spMkLst>
        </pc:spChg>
        <pc:spChg chg="mod">
          <ac:chgData name="Eileen Fleming Suse" userId="S::efs3844@ads.northwestern.edu::725c94ef-d051-42d7-9d33-8572765d592b" providerId="AD" clId="Web-{61DCECB8-FCC4-463F-180A-DE94BEA715D4}" dt="2023-10-30T19:52:21.335" v="74" actId="1076"/>
          <ac:spMkLst>
            <pc:docMk/>
            <pc:sldMk cId="3809547791" sldId="586"/>
            <ac:spMk id="47" creationId="{B8E0B5F5-B6A2-711D-2F6F-422E5E01B221}"/>
          </ac:spMkLst>
        </pc:spChg>
      </pc:sldChg>
      <pc:sldChg chg="modSp">
        <pc:chgData name="Eileen Fleming Suse" userId="S::efs3844@ads.northwestern.edu::725c94ef-d051-42d7-9d33-8572765d592b" providerId="AD" clId="Web-{61DCECB8-FCC4-463F-180A-DE94BEA715D4}" dt="2023-10-30T19:52:12.554" v="72" actId="1076"/>
        <pc:sldMkLst>
          <pc:docMk/>
          <pc:sldMk cId="1598854783" sldId="587"/>
        </pc:sldMkLst>
        <pc:spChg chg="mod">
          <ac:chgData name="Eileen Fleming Suse" userId="S::efs3844@ads.northwestern.edu::725c94ef-d051-42d7-9d33-8572765d592b" providerId="AD" clId="Web-{61DCECB8-FCC4-463F-180A-DE94BEA715D4}" dt="2023-10-30T19:52:12.554" v="72" actId="1076"/>
          <ac:spMkLst>
            <pc:docMk/>
            <pc:sldMk cId="1598854783" sldId="587"/>
            <ac:spMk id="49" creationId="{E2210AC7-88E9-3DF2-B6FD-284390179A81}"/>
          </ac:spMkLst>
        </pc:spChg>
        <pc:spChg chg="mod">
          <ac:chgData name="Eileen Fleming Suse" userId="S::efs3844@ads.northwestern.edu::725c94ef-d051-42d7-9d33-8572765d592b" providerId="AD" clId="Web-{61DCECB8-FCC4-463F-180A-DE94BEA715D4}" dt="2023-10-30T19:50:46.880" v="70" actId="1076"/>
          <ac:spMkLst>
            <pc:docMk/>
            <pc:sldMk cId="1598854783" sldId="587"/>
            <ac:spMk id="51" creationId="{24A2DEC9-4CC0-CBF0-5D9A-524D9EFAEE1C}"/>
          </ac:spMkLst>
        </pc:spChg>
        <pc:spChg chg="mod">
          <ac:chgData name="Eileen Fleming Suse" userId="S::efs3844@ads.northwestern.edu::725c94ef-d051-42d7-9d33-8572765d592b" providerId="AD" clId="Web-{61DCECB8-FCC4-463F-180A-DE94BEA715D4}" dt="2023-10-30T19:50:45.505" v="69" actId="1076"/>
          <ac:spMkLst>
            <pc:docMk/>
            <pc:sldMk cId="1598854783" sldId="587"/>
            <ac:spMk id="53" creationId="{0E0706BB-4123-83DA-E93A-66A50F4484A3}"/>
          </ac:spMkLst>
        </pc:spChg>
      </pc:sldChg>
      <pc:sldChg chg="modSp">
        <pc:chgData name="Eileen Fleming Suse" userId="S::efs3844@ads.northwestern.edu::725c94ef-d051-42d7-9d33-8572765d592b" providerId="AD" clId="Web-{61DCECB8-FCC4-463F-180A-DE94BEA715D4}" dt="2023-10-30T19:56:42.544" v="104" actId="1076"/>
        <pc:sldMkLst>
          <pc:docMk/>
          <pc:sldMk cId="3832963388" sldId="588"/>
        </pc:sldMkLst>
        <pc:spChg chg="mod">
          <ac:chgData name="Eileen Fleming Suse" userId="S::efs3844@ads.northwestern.edu::725c94ef-d051-42d7-9d33-8572765d592b" providerId="AD" clId="Web-{61DCECB8-FCC4-463F-180A-DE94BEA715D4}" dt="2023-10-30T19:56:42.544" v="104" actId="1076"/>
          <ac:spMkLst>
            <pc:docMk/>
            <pc:sldMk cId="3832963388" sldId="588"/>
            <ac:spMk id="27" creationId="{00000000-0000-0000-0000-000000000000}"/>
          </ac:spMkLst>
        </pc:spChg>
        <pc:spChg chg="mod">
          <ac:chgData name="Eileen Fleming Suse" userId="S::efs3844@ads.northwestern.edu::725c94ef-d051-42d7-9d33-8572765d592b" providerId="AD" clId="Web-{61DCECB8-FCC4-463F-180A-DE94BEA715D4}" dt="2023-10-30T19:56:12.966" v="102" actId="1076"/>
          <ac:spMkLst>
            <pc:docMk/>
            <pc:sldMk cId="3832963388" sldId="588"/>
            <ac:spMk id="32" creationId="{00000000-0000-0000-0000-000000000000}"/>
          </ac:spMkLst>
        </pc:spChg>
        <pc:spChg chg="mod">
          <ac:chgData name="Eileen Fleming Suse" userId="S::efs3844@ads.northwestern.edu::725c94ef-d051-42d7-9d33-8572765d592b" providerId="AD" clId="Web-{61DCECB8-FCC4-463F-180A-DE94BEA715D4}" dt="2023-10-30T19:50:22.270" v="62" actId="14100"/>
          <ac:spMkLst>
            <pc:docMk/>
            <pc:sldMk cId="3832963388" sldId="588"/>
            <ac:spMk id="36" creationId="{3EFC5C80-E693-6C51-4DEF-583812BEAB54}"/>
          </ac:spMkLst>
        </pc:spChg>
        <pc:spChg chg="mod">
          <ac:chgData name="Eileen Fleming Suse" userId="S::efs3844@ads.northwestern.edu::725c94ef-d051-42d7-9d33-8572765d592b" providerId="AD" clId="Web-{61DCECB8-FCC4-463F-180A-DE94BEA715D4}" dt="2023-10-30T19:50:16.801" v="59" actId="1076"/>
          <ac:spMkLst>
            <pc:docMk/>
            <pc:sldMk cId="3832963388" sldId="588"/>
            <ac:spMk id="38" creationId="{9B32A794-89CE-3CF7-CCFB-FB03BB567C6D}"/>
          </ac:spMkLst>
        </pc:spChg>
      </pc:sldChg>
      <pc:sldChg chg="modSp">
        <pc:chgData name="Eileen Fleming Suse" userId="S::efs3844@ads.northwestern.edu::725c94ef-d051-42d7-9d33-8572765d592b" providerId="AD" clId="Web-{61DCECB8-FCC4-463F-180A-DE94BEA715D4}" dt="2023-10-30T19:56:26.903" v="103" actId="20577"/>
        <pc:sldMkLst>
          <pc:docMk/>
          <pc:sldMk cId="435998680" sldId="589"/>
        </pc:sldMkLst>
        <pc:spChg chg="mod">
          <ac:chgData name="Eileen Fleming Suse" userId="S::efs3844@ads.northwestern.edu::725c94ef-d051-42d7-9d33-8572765d592b" providerId="AD" clId="Web-{61DCECB8-FCC4-463F-180A-DE94BEA715D4}" dt="2023-10-30T19:54:21.947" v="86" actId="1076"/>
          <ac:spMkLst>
            <pc:docMk/>
            <pc:sldMk cId="435998680" sldId="589"/>
            <ac:spMk id="3" creationId="{00000000-0000-0000-0000-000000000000}"/>
          </ac:spMkLst>
        </pc:spChg>
        <pc:spChg chg="mod">
          <ac:chgData name="Eileen Fleming Suse" userId="S::efs3844@ads.northwestern.edu::725c94ef-d051-42d7-9d33-8572765d592b" providerId="AD" clId="Web-{61DCECB8-FCC4-463F-180A-DE94BEA715D4}" dt="2023-10-30T19:55:39.215" v="99" actId="1076"/>
          <ac:spMkLst>
            <pc:docMk/>
            <pc:sldMk cId="435998680" sldId="589"/>
            <ac:spMk id="8" creationId="{00000000-0000-0000-0000-000000000000}"/>
          </ac:spMkLst>
        </pc:spChg>
        <pc:spChg chg="mod">
          <ac:chgData name="Eileen Fleming Suse" userId="S::efs3844@ads.northwestern.edu::725c94ef-d051-42d7-9d33-8572765d592b" providerId="AD" clId="Web-{61DCECB8-FCC4-463F-180A-DE94BEA715D4}" dt="2023-10-30T19:54:19.322" v="85" actId="14100"/>
          <ac:spMkLst>
            <pc:docMk/>
            <pc:sldMk cId="435998680" sldId="589"/>
            <ac:spMk id="10" creationId="{00000000-0000-0000-0000-000000000000}"/>
          </ac:spMkLst>
        </pc:spChg>
        <pc:spChg chg="mod">
          <ac:chgData name="Eileen Fleming Suse" userId="S::efs3844@ads.northwestern.edu::725c94ef-d051-42d7-9d33-8572765d592b" providerId="AD" clId="Web-{61DCECB8-FCC4-463F-180A-DE94BEA715D4}" dt="2023-10-30T19:54:08.025" v="83" actId="1076"/>
          <ac:spMkLst>
            <pc:docMk/>
            <pc:sldMk cId="435998680" sldId="589"/>
            <ac:spMk id="13" creationId="{00000000-0000-0000-0000-000000000000}"/>
          </ac:spMkLst>
        </pc:spChg>
        <pc:spChg chg="mod">
          <ac:chgData name="Eileen Fleming Suse" userId="S::efs3844@ads.northwestern.edu::725c94ef-d051-42d7-9d33-8572765d592b" providerId="AD" clId="Web-{61DCECB8-FCC4-463F-180A-DE94BEA715D4}" dt="2023-10-30T19:56:26.903" v="103" actId="20577"/>
          <ac:spMkLst>
            <pc:docMk/>
            <pc:sldMk cId="435998680" sldId="589"/>
            <ac:spMk id="16" creationId="{00000000-0000-0000-0000-000000000000}"/>
          </ac:spMkLst>
        </pc:spChg>
        <pc:spChg chg="mod">
          <ac:chgData name="Eileen Fleming Suse" userId="S::efs3844@ads.northwestern.edu::725c94ef-d051-42d7-9d33-8572765d592b" providerId="AD" clId="Web-{61DCECB8-FCC4-463F-180A-DE94BEA715D4}" dt="2023-10-30T19:54:46.620" v="90" actId="20577"/>
          <ac:spMkLst>
            <pc:docMk/>
            <pc:sldMk cId="435998680" sldId="589"/>
            <ac:spMk id="17" creationId="{00000000-0000-0000-0000-000000000000}"/>
          </ac:spMkLst>
        </pc:spChg>
        <pc:spChg chg="mod">
          <ac:chgData name="Eileen Fleming Suse" userId="S::efs3844@ads.northwestern.edu::725c94ef-d051-42d7-9d33-8572765d592b" providerId="AD" clId="Web-{61DCECB8-FCC4-463F-180A-DE94BEA715D4}" dt="2023-10-30T19:49:42.800" v="52" actId="14100"/>
          <ac:spMkLst>
            <pc:docMk/>
            <pc:sldMk cId="435998680" sldId="589"/>
            <ac:spMk id="19" creationId="{4F38B046-5CD5-F005-45E3-2034830DFD34}"/>
          </ac:spMkLst>
        </pc:spChg>
        <pc:spChg chg="mod">
          <ac:chgData name="Eileen Fleming Suse" userId="S::efs3844@ads.northwestern.edu::725c94ef-d051-42d7-9d33-8572765d592b" providerId="AD" clId="Web-{61DCECB8-FCC4-463F-180A-DE94BEA715D4}" dt="2023-10-30T19:49:51.378" v="55" actId="1076"/>
          <ac:spMkLst>
            <pc:docMk/>
            <pc:sldMk cId="435998680" sldId="589"/>
            <ac:spMk id="21" creationId="{A35E0C3C-CC22-A1A0-8E94-9EEE65798BD1}"/>
          </ac:spMkLst>
        </pc:spChg>
        <pc:spChg chg="mod">
          <ac:chgData name="Eileen Fleming Suse" userId="S::efs3844@ads.northwestern.edu::725c94ef-d051-42d7-9d33-8572765d592b" providerId="AD" clId="Web-{61DCECB8-FCC4-463F-180A-DE94BEA715D4}" dt="2023-10-30T19:48:51.643" v="51" actId="1076"/>
          <ac:spMkLst>
            <pc:docMk/>
            <pc:sldMk cId="435998680" sldId="589"/>
            <ac:spMk id="23" creationId="{4187CCE4-601B-24DB-941F-235B18EDE475}"/>
          </ac:spMkLst>
        </pc:spChg>
        <pc:grpChg chg="mod">
          <ac:chgData name="Eileen Fleming Suse" userId="S::efs3844@ads.northwestern.edu::725c94ef-d051-42d7-9d33-8572765d592b" providerId="AD" clId="Web-{61DCECB8-FCC4-463F-180A-DE94BEA715D4}" dt="2023-10-30T19:54:05.572" v="82" actId="1076"/>
          <ac:grpSpMkLst>
            <pc:docMk/>
            <pc:sldMk cId="435998680" sldId="589"/>
            <ac:grpSpMk id="5" creationId="{00000000-0000-0000-0000-000000000000}"/>
          </ac:grpSpMkLst>
        </pc:grpChg>
      </pc:sldChg>
      <pc:sldChg chg="modSp">
        <pc:chgData name="Eileen Fleming Suse" userId="S::efs3844@ads.northwestern.edu::725c94ef-d051-42d7-9d33-8572765d592b" providerId="AD" clId="Web-{61DCECB8-FCC4-463F-180A-DE94BEA715D4}" dt="2023-10-30T19:53:40.587" v="81" actId="1076"/>
        <pc:sldMkLst>
          <pc:docMk/>
          <pc:sldMk cId="595546358" sldId="590"/>
        </pc:sldMkLst>
        <pc:spChg chg="mod">
          <ac:chgData name="Eileen Fleming Suse" userId="S::efs3844@ads.northwestern.edu::725c94ef-d051-42d7-9d33-8572765d592b" providerId="AD" clId="Web-{61DCECB8-FCC4-463F-180A-DE94BEA715D4}" dt="2023-10-30T19:53:37.665" v="80" actId="1076"/>
          <ac:spMkLst>
            <pc:docMk/>
            <pc:sldMk cId="595546358" sldId="590"/>
            <ac:spMk id="26" creationId="{00000000-0000-0000-0000-000000000000}"/>
          </ac:spMkLst>
        </pc:spChg>
        <pc:spChg chg="mod">
          <ac:chgData name="Eileen Fleming Suse" userId="S::efs3844@ads.northwestern.edu::725c94ef-d051-42d7-9d33-8572765d592b" providerId="AD" clId="Web-{61DCECB8-FCC4-463F-180A-DE94BEA715D4}" dt="2023-10-30T19:53:22.602" v="79" actId="1076"/>
          <ac:spMkLst>
            <pc:docMk/>
            <pc:sldMk cId="595546358" sldId="590"/>
            <ac:spMk id="30" creationId="{53721EF8-C35D-834E-9339-D65FFE7AFF9A}"/>
          </ac:spMkLst>
        </pc:spChg>
        <pc:spChg chg="mod">
          <ac:chgData name="Eileen Fleming Suse" userId="S::efs3844@ads.northwestern.edu::725c94ef-d051-42d7-9d33-8572765d592b" providerId="AD" clId="Web-{61DCECB8-FCC4-463F-180A-DE94BEA715D4}" dt="2023-10-30T19:53:20.774" v="78" actId="1076"/>
          <ac:spMkLst>
            <pc:docMk/>
            <pc:sldMk cId="595546358" sldId="590"/>
            <ac:spMk id="32" creationId="{F1AED984-C21E-AA63-E34E-DA61BCE8401F}"/>
          </ac:spMkLst>
        </pc:spChg>
        <pc:spChg chg="mod">
          <ac:chgData name="Eileen Fleming Suse" userId="S::efs3844@ads.northwestern.edu::725c94ef-d051-42d7-9d33-8572765d592b" providerId="AD" clId="Web-{61DCECB8-FCC4-463F-180A-DE94BEA715D4}" dt="2023-10-30T19:48:30.908" v="45" actId="1076"/>
          <ac:spMkLst>
            <pc:docMk/>
            <pc:sldMk cId="595546358" sldId="590"/>
            <ac:spMk id="34" creationId="{6A9EBE99-61D6-2DC0-EB79-B633C9D91DD8}"/>
          </ac:spMkLst>
        </pc:spChg>
        <pc:grpChg chg="mod">
          <ac:chgData name="Eileen Fleming Suse" userId="S::efs3844@ads.northwestern.edu::725c94ef-d051-42d7-9d33-8572765d592b" providerId="AD" clId="Web-{61DCECB8-FCC4-463F-180A-DE94BEA715D4}" dt="2023-10-30T19:53:40.587" v="81" actId="1076"/>
          <ac:grpSpMkLst>
            <pc:docMk/>
            <pc:sldMk cId="595546358" sldId="590"/>
            <ac:grpSpMk id="11" creationId="{00000000-0000-0000-0000-000000000000}"/>
          </ac:grpSpMkLst>
        </pc:grpChg>
      </pc:sldChg>
      <pc:sldChg chg="modSp">
        <pc:chgData name="Eileen Fleming Suse" userId="S::efs3844@ads.northwestern.edu::725c94ef-d051-42d7-9d33-8572765d592b" providerId="AD" clId="Web-{61DCECB8-FCC4-463F-180A-DE94BEA715D4}" dt="2023-10-30T19:48:08.470" v="42" actId="1076"/>
        <pc:sldMkLst>
          <pc:docMk/>
          <pc:sldMk cId="629433230" sldId="591"/>
        </pc:sldMkLst>
        <pc:spChg chg="mod">
          <ac:chgData name="Eileen Fleming Suse" userId="S::efs3844@ads.northwestern.edu::725c94ef-d051-42d7-9d33-8572765d592b" providerId="AD" clId="Web-{61DCECB8-FCC4-463F-180A-DE94BEA715D4}" dt="2023-10-30T19:46:46.702" v="31" actId="1076"/>
          <ac:spMkLst>
            <pc:docMk/>
            <pc:sldMk cId="629433230" sldId="591"/>
            <ac:spMk id="24" creationId="{82DED22A-2957-2107-97D2-7694FF88F0A5}"/>
          </ac:spMkLst>
        </pc:spChg>
        <pc:spChg chg="mod">
          <ac:chgData name="Eileen Fleming Suse" userId="S::efs3844@ads.northwestern.edu::725c94ef-d051-42d7-9d33-8572765d592b" providerId="AD" clId="Web-{61DCECB8-FCC4-463F-180A-DE94BEA715D4}" dt="2023-10-30T19:48:08.470" v="42" actId="1076"/>
          <ac:spMkLst>
            <pc:docMk/>
            <pc:sldMk cId="629433230" sldId="591"/>
            <ac:spMk id="26" creationId="{7ADA2A22-B85F-E8A9-52B3-7FA1A111EB25}"/>
          </ac:spMkLst>
        </pc:spChg>
      </pc:sldChg>
      <pc:sldChg chg="del mod modShow">
        <pc:chgData name="Eileen Fleming Suse" userId="S::efs3844@ads.northwestern.edu::725c94ef-d051-42d7-9d33-8572765d592b" providerId="AD" clId="Web-{61DCECB8-FCC4-463F-180A-DE94BEA715D4}" dt="2023-10-30T22:38:32.619" v="291"/>
        <pc:sldMkLst>
          <pc:docMk/>
          <pc:sldMk cId="2628065282" sldId="597"/>
        </pc:sldMkLst>
      </pc:sldChg>
      <pc:sldChg chg="del mod modShow">
        <pc:chgData name="Eileen Fleming Suse" userId="S::efs3844@ads.northwestern.edu::725c94ef-d051-42d7-9d33-8572765d592b" providerId="AD" clId="Web-{61DCECB8-FCC4-463F-180A-DE94BEA715D4}" dt="2023-10-30T22:38:32.619" v="292"/>
        <pc:sldMkLst>
          <pc:docMk/>
          <pc:sldMk cId="1478149357" sldId="598"/>
        </pc:sldMkLst>
      </pc:sldChg>
      <pc:sldChg chg="modSp del">
        <pc:chgData name="Eileen Fleming Suse" userId="S::efs3844@ads.northwestern.edu::725c94ef-d051-42d7-9d33-8572765d592b" providerId="AD" clId="Web-{61DCECB8-FCC4-463F-180A-DE94BEA715D4}" dt="2023-10-30T22:38:32.603" v="287"/>
        <pc:sldMkLst>
          <pc:docMk/>
          <pc:sldMk cId="2470795492" sldId="599"/>
        </pc:sldMkLst>
        <pc:spChg chg="mod">
          <ac:chgData name="Eileen Fleming Suse" userId="S::efs3844@ads.northwestern.edu::725c94ef-d051-42d7-9d33-8572765d592b" providerId="AD" clId="Web-{61DCECB8-FCC4-463F-180A-DE94BEA715D4}" dt="2023-10-30T20:16:22.525" v="250"/>
          <ac:spMkLst>
            <pc:docMk/>
            <pc:sldMk cId="2470795492" sldId="599"/>
            <ac:spMk id="16386" creationId="{00000000-0000-0000-0000-000000000000}"/>
          </ac:spMkLst>
        </pc:spChg>
      </pc:sldChg>
      <pc:sldChg chg="modSp del">
        <pc:chgData name="Eileen Fleming Suse" userId="S::efs3844@ads.northwestern.edu::725c94ef-d051-42d7-9d33-8572765d592b" providerId="AD" clId="Web-{61DCECB8-FCC4-463F-180A-DE94BEA715D4}" dt="2023-10-30T22:38:32.603" v="288"/>
        <pc:sldMkLst>
          <pc:docMk/>
          <pc:sldMk cId="2592767400" sldId="600"/>
        </pc:sldMkLst>
        <pc:spChg chg="mod">
          <ac:chgData name="Eileen Fleming Suse" userId="S::efs3844@ads.northwestern.edu::725c94ef-d051-42d7-9d33-8572765d592b" providerId="AD" clId="Web-{61DCECB8-FCC4-463F-180A-DE94BEA715D4}" dt="2023-10-30T20:16:30.104" v="251"/>
          <ac:spMkLst>
            <pc:docMk/>
            <pc:sldMk cId="2592767400" sldId="600"/>
            <ac:spMk id="16386" creationId="{00000000-0000-0000-0000-000000000000}"/>
          </ac:spMkLst>
        </pc:spChg>
      </pc:sldChg>
      <pc:sldChg chg="del">
        <pc:chgData name="Eileen Fleming Suse" userId="S::efs3844@ads.northwestern.edu::725c94ef-d051-42d7-9d33-8572765d592b" providerId="AD" clId="Web-{61DCECB8-FCC4-463F-180A-DE94BEA715D4}" dt="2023-10-30T22:38:32.603" v="289"/>
        <pc:sldMkLst>
          <pc:docMk/>
          <pc:sldMk cId="3023536423" sldId="601"/>
        </pc:sldMkLst>
      </pc:sldChg>
      <pc:sldChg chg="modSp del">
        <pc:chgData name="Eileen Fleming Suse" userId="S::efs3844@ads.northwestern.edu::725c94ef-d051-42d7-9d33-8572765d592b" providerId="AD" clId="Web-{61DCECB8-FCC4-463F-180A-DE94BEA715D4}" dt="2023-10-30T22:38:32.603" v="290"/>
        <pc:sldMkLst>
          <pc:docMk/>
          <pc:sldMk cId="1011826885" sldId="602"/>
        </pc:sldMkLst>
        <pc:spChg chg="mod">
          <ac:chgData name="Eileen Fleming Suse" userId="S::efs3844@ads.northwestern.edu::725c94ef-d051-42d7-9d33-8572765d592b" providerId="AD" clId="Web-{61DCECB8-FCC4-463F-180A-DE94BEA715D4}" dt="2023-10-30T20:16:36.619" v="252"/>
          <ac:spMkLst>
            <pc:docMk/>
            <pc:sldMk cId="1011826885" sldId="602"/>
            <ac:spMk id="16386" creationId="{00000000-0000-0000-0000-000000000000}"/>
          </ac:spMkLst>
        </pc:spChg>
      </pc:sldChg>
      <pc:sldChg chg="del">
        <pc:chgData name="Eileen Fleming Suse" userId="S::efs3844@ads.northwestern.edu::725c94ef-d051-42d7-9d33-8572765d592b" providerId="AD" clId="Web-{61DCECB8-FCC4-463F-180A-DE94BEA715D4}" dt="2023-10-30T22:38:32.587" v="284"/>
        <pc:sldMkLst>
          <pc:docMk/>
          <pc:sldMk cId="600547746" sldId="603"/>
        </pc:sldMkLst>
      </pc:sldChg>
      <pc:sldChg chg="del">
        <pc:chgData name="Eileen Fleming Suse" userId="S::efs3844@ads.northwestern.edu::725c94ef-d051-42d7-9d33-8572765d592b" providerId="AD" clId="Web-{61DCECB8-FCC4-463F-180A-DE94BEA715D4}" dt="2023-10-30T22:38:32.587" v="285"/>
        <pc:sldMkLst>
          <pc:docMk/>
          <pc:sldMk cId="3355787309" sldId="604"/>
        </pc:sldMkLst>
      </pc:sldChg>
      <pc:sldChg chg="del">
        <pc:chgData name="Eileen Fleming Suse" userId="S::efs3844@ads.northwestern.edu::725c94ef-d051-42d7-9d33-8572765d592b" providerId="AD" clId="Web-{61DCECB8-FCC4-463F-180A-DE94BEA715D4}" dt="2023-10-30T22:38:32.587" v="286"/>
        <pc:sldMkLst>
          <pc:docMk/>
          <pc:sldMk cId="1452140663" sldId="605"/>
        </pc:sldMkLst>
      </pc:sldChg>
      <pc:sldChg chg="del">
        <pc:chgData name="Eileen Fleming Suse" userId="S::efs3844@ads.northwestern.edu::725c94ef-d051-42d7-9d33-8572765d592b" providerId="AD" clId="Web-{61DCECB8-FCC4-463F-180A-DE94BEA715D4}" dt="2023-10-30T22:38:32.572" v="280"/>
        <pc:sldMkLst>
          <pc:docMk/>
          <pc:sldMk cId="1937423064" sldId="606"/>
        </pc:sldMkLst>
      </pc:sldChg>
      <pc:sldChg chg="del">
        <pc:chgData name="Eileen Fleming Suse" userId="S::efs3844@ads.northwestern.edu::725c94ef-d051-42d7-9d33-8572765d592b" providerId="AD" clId="Web-{61DCECB8-FCC4-463F-180A-DE94BEA715D4}" dt="2023-10-30T22:38:32.572" v="281"/>
        <pc:sldMkLst>
          <pc:docMk/>
          <pc:sldMk cId="3774016129" sldId="607"/>
        </pc:sldMkLst>
      </pc:sldChg>
      <pc:sldChg chg="del">
        <pc:chgData name="Eileen Fleming Suse" userId="S::efs3844@ads.northwestern.edu::725c94ef-d051-42d7-9d33-8572765d592b" providerId="AD" clId="Web-{61DCECB8-FCC4-463F-180A-DE94BEA715D4}" dt="2023-10-30T22:38:32.572" v="282"/>
        <pc:sldMkLst>
          <pc:docMk/>
          <pc:sldMk cId="3226012611" sldId="608"/>
        </pc:sldMkLst>
      </pc:sldChg>
      <pc:sldChg chg="del">
        <pc:chgData name="Eileen Fleming Suse" userId="S::efs3844@ads.northwestern.edu::725c94ef-d051-42d7-9d33-8572765d592b" providerId="AD" clId="Web-{61DCECB8-FCC4-463F-180A-DE94BEA715D4}" dt="2023-10-30T22:38:32.587" v="283"/>
        <pc:sldMkLst>
          <pc:docMk/>
          <pc:sldMk cId="2003568291" sldId="609"/>
        </pc:sldMkLst>
      </pc:sldChg>
      <pc:sldChg chg="modSp">
        <pc:chgData name="Eileen Fleming Suse" userId="S::efs3844@ads.northwestern.edu::725c94ef-d051-42d7-9d33-8572765d592b" providerId="AD" clId="Web-{61DCECB8-FCC4-463F-180A-DE94BEA715D4}" dt="2023-10-30T19:46:03.186" v="29" actId="20577"/>
        <pc:sldMkLst>
          <pc:docMk/>
          <pc:sldMk cId="3850125703" sldId="622"/>
        </pc:sldMkLst>
        <pc:spChg chg="mod">
          <ac:chgData name="Eileen Fleming Suse" userId="S::efs3844@ads.northwestern.edu::725c94ef-d051-42d7-9d33-8572765d592b" providerId="AD" clId="Web-{61DCECB8-FCC4-463F-180A-DE94BEA715D4}" dt="2023-10-30T19:45:47.826" v="6" actId="20577"/>
          <ac:spMkLst>
            <pc:docMk/>
            <pc:sldMk cId="3850125703" sldId="622"/>
            <ac:spMk id="12" creationId="{00000000-0000-0000-0000-000000000000}"/>
          </ac:spMkLst>
        </pc:spChg>
        <pc:spChg chg="mod">
          <ac:chgData name="Eileen Fleming Suse" userId="S::efs3844@ads.northwestern.edu::725c94ef-d051-42d7-9d33-8572765d592b" providerId="AD" clId="Web-{61DCECB8-FCC4-463F-180A-DE94BEA715D4}" dt="2023-10-30T19:45:56.310" v="22" actId="20577"/>
          <ac:spMkLst>
            <pc:docMk/>
            <pc:sldMk cId="3850125703" sldId="622"/>
            <ac:spMk id="27" creationId="{00000000-0000-0000-0000-000000000000}"/>
          </ac:spMkLst>
        </pc:spChg>
        <pc:spChg chg="mod">
          <ac:chgData name="Eileen Fleming Suse" userId="S::efs3844@ads.northwestern.edu::725c94ef-d051-42d7-9d33-8572765d592b" providerId="AD" clId="Web-{61DCECB8-FCC4-463F-180A-DE94BEA715D4}" dt="2023-10-30T19:45:49.076" v="8" actId="20577"/>
          <ac:spMkLst>
            <pc:docMk/>
            <pc:sldMk cId="3850125703" sldId="622"/>
            <ac:spMk id="39" creationId="{00000000-0000-0000-0000-000000000000}"/>
          </ac:spMkLst>
        </pc:spChg>
        <pc:spChg chg="mod">
          <ac:chgData name="Eileen Fleming Suse" userId="S::efs3844@ads.northwestern.edu::725c94ef-d051-42d7-9d33-8572765d592b" providerId="AD" clId="Web-{61DCECB8-FCC4-463F-180A-DE94BEA715D4}" dt="2023-10-30T19:46:03.186" v="29" actId="20577"/>
          <ac:spMkLst>
            <pc:docMk/>
            <pc:sldMk cId="3850125703" sldId="622"/>
            <ac:spMk id="48" creationId="{00000000-0000-0000-0000-000000000000}"/>
          </ac:spMkLst>
        </pc:spChg>
      </pc:sldChg>
      <pc:sldChg chg="del">
        <pc:chgData name="Eileen Fleming Suse" userId="S::efs3844@ads.northwestern.edu::725c94ef-d051-42d7-9d33-8572765d592b" providerId="AD" clId="Web-{61DCECB8-FCC4-463F-180A-DE94BEA715D4}" dt="2023-10-30T22:38:32.572" v="278"/>
        <pc:sldMkLst>
          <pc:docMk/>
          <pc:sldMk cId="1987746666" sldId="623"/>
        </pc:sldMkLst>
      </pc:sldChg>
      <pc:sldChg chg="del">
        <pc:chgData name="Eileen Fleming Suse" userId="S::efs3844@ads.northwestern.edu::725c94ef-d051-42d7-9d33-8572765d592b" providerId="AD" clId="Web-{61DCECB8-FCC4-463F-180A-DE94BEA715D4}" dt="2023-10-30T22:38:32.572" v="279"/>
        <pc:sldMkLst>
          <pc:docMk/>
          <pc:sldMk cId="924990962" sldId="625"/>
        </pc:sldMkLst>
      </pc:sldChg>
      <pc:sldChg chg="del">
        <pc:chgData name="Eileen Fleming Suse" userId="S::efs3844@ads.northwestern.edu::725c94ef-d051-42d7-9d33-8572765d592b" providerId="AD" clId="Web-{61DCECB8-FCC4-463F-180A-DE94BEA715D4}" dt="2023-10-30T22:38:32.541" v="272"/>
        <pc:sldMkLst>
          <pc:docMk/>
          <pc:sldMk cId="3004443360" sldId="626"/>
        </pc:sldMkLst>
      </pc:sldChg>
      <pc:sldChg chg="del">
        <pc:chgData name="Eileen Fleming Suse" userId="S::efs3844@ads.northwestern.edu::725c94ef-d051-42d7-9d33-8572765d592b" providerId="AD" clId="Web-{61DCECB8-FCC4-463F-180A-DE94BEA715D4}" dt="2023-10-30T22:38:32.556" v="274"/>
        <pc:sldMkLst>
          <pc:docMk/>
          <pc:sldMk cId="53107998" sldId="627"/>
        </pc:sldMkLst>
      </pc:sldChg>
      <pc:sldChg chg="del">
        <pc:chgData name="Eileen Fleming Suse" userId="S::efs3844@ads.northwestern.edu::725c94ef-d051-42d7-9d33-8572765d592b" providerId="AD" clId="Web-{61DCECB8-FCC4-463F-180A-DE94BEA715D4}" dt="2023-10-30T22:38:32.556" v="276"/>
        <pc:sldMkLst>
          <pc:docMk/>
          <pc:sldMk cId="534784336" sldId="628"/>
        </pc:sldMkLst>
      </pc:sldChg>
      <pc:sldChg chg="del">
        <pc:chgData name="Eileen Fleming Suse" userId="S::efs3844@ads.northwestern.edu::725c94ef-d051-42d7-9d33-8572765d592b" providerId="AD" clId="Web-{61DCECB8-FCC4-463F-180A-DE94BEA715D4}" dt="2023-10-30T22:38:32.556" v="277"/>
        <pc:sldMkLst>
          <pc:docMk/>
          <pc:sldMk cId="2981412015" sldId="629"/>
        </pc:sldMkLst>
      </pc:sldChg>
      <pc:sldChg chg="del">
        <pc:chgData name="Eileen Fleming Suse" userId="S::efs3844@ads.northwestern.edu::725c94ef-d051-42d7-9d33-8572765d592b" providerId="AD" clId="Web-{61DCECB8-FCC4-463F-180A-DE94BEA715D4}" dt="2023-10-30T22:38:32.541" v="273"/>
        <pc:sldMkLst>
          <pc:docMk/>
          <pc:sldMk cId="411397640" sldId="635"/>
        </pc:sldMkLst>
      </pc:sldChg>
      <pc:sldChg chg="del">
        <pc:chgData name="Eileen Fleming Suse" userId="S::efs3844@ads.northwestern.edu::725c94ef-d051-42d7-9d33-8572765d592b" providerId="AD" clId="Web-{61DCECB8-FCC4-463F-180A-DE94BEA715D4}" dt="2023-10-30T22:38:32.556" v="275"/>
        <pc:sldMkLst>
          <pc:docMk/>
          <pc:sldMk cId="975286347" sldId="636"/>
        </pc:sldMkLst>
      </pc:sldChg>
      <pc:sldChg chg="del">
        <pc:chgData name="Eileen Fleming Suse" userId="S::efs3844@ads.northwestern.edu::725c94ef-d051-42d7-9d33-8572765d592b" providerId="AD" clId="Web-{61DCECB8-FCC4-463F-180A-DE94BEA715D4}" dt="2023-10-30T22:39:33.089" v="297"/>
        <pc:sldMkLst>
          <pc:docMk/>
          <pc:sldMk cId="3321596273" sldId="640"/>
        </pc:sldMkLst>
      </pc:sldChg>
      <pc:sldChg chg="del">
        <pc:chgData name="Eileen Fleming Suse" userId="S::efs3844@ads.northwestern.edu::725c94ef-d051-42d7-9d33-8572765d592b" providerId="AD" clId="Web-{61DCECB8-FCC4-463F-180A-DE94BEA715D4}" dt="2023-10-30T22:47:53.494" v="365"/>
        <pc:sldMkLst>
          <pc:docMk/>
          <pc:sldMk cId="2460321206" sldId="641"/>
        </pc:sldMkLst>
      </pc:sldChg>
      <pc:sldChg chg="modSp">
        <pc:chgData name="Eileen Fleming Suse" userId="S::efs3844@ads.northwestern.edu::725c94ef-d051-42d7-9d33-8572765d592b" providerId="AD" clId="Web-{61DCECB8-FCC4-463F-180A-DE94BEA715D4}" dt="2023-10-30T22:49:41.685" v="398" actId="20577"/>
        <pc:sldMkLst>
          <pc:docMk/>
          <pc:sldMk cId="113281680" sldId="642"/>
        </pc:sldMkLst>
        <pc:spChg chg="mod">
          <ac:chgData name="Eileen Fleming Suse" userId="S::efs3844@ads.northwestern.edu::725c94ef-d051-42d7-9d33-8572765d592b" providerId="AD" clId="Web-{61DCECB8-FCC4-463F-180A-DE94BEA715D4}" dt="2023-10-30T22:49:41.685" v="398" actId="20577"/>
          <ac:spMkLst>
            <pc:docMk/>
            <pc:sldMk cId="113281680" sldId="642"/>
            <ac:spMk id="2" creationId="{F4AFEDD1-1B2F-10C8-9EFB-EFBD0CAB6989}"/>
          </ac:spMkLst>
        </pc:spChg>
      </pc:sldChg>
      <pc:sldChg chg="addSp delSp modSp add replId">
        <pc:chgData name="Eileen Fleming Suse" userId="S::efs3844@ads.northwestern.edu::725c94ef-d051-42d7-9d33-8572765d592b" providerId="AD" clId="Web-{61DCECB8-FCC4-463F-180A-DE94BEA715D4}" dt="2023-10-30T22:45:26.052" v="333" actId="1076"/>
        <pc:sldMkLst>
          <pc:docMk/>
          <pc:sldMk cId="2443892533" sldId="643"/>
        </pc:sldMkLst>
        <pc:spChg chg="mod">
          <ac:chgData name="Eileen Fleming Suse" userId="S::efs3844@ads.northwestern.edu::725c94ef-d051-42d7-9d33-8572765d592b" providerId="AD" clId="Web-{61DCECB8-FCC4-463F-180A-DE94BEA715D4}" dt="2023-10-30T20:11:56.425" v="228"/>
          <ac:spMkLst>
            <pc:docMk/>
            <pc:sldMk cId="2443892533" sldId="643"/>
            <ac:spMk id="2" creationId="{85302686-DF06-3304-66CB-1E21F4D086DC}"/>
          </ac:spMkLst>
        </pc:spChg>
        <pc:spChg chg="mod">
          <ac:chgData name="Eileen Fleming Suse" userId="S::efs3844@ads.northwestern.edu::725c94ef-d051-42d7-9d33-8572765d592b" providerId="AD" clId="Web-{61DCECB8-FCC4-463F-180A-DE94BEA715D4}" dt="2023-10-30T22:44:31.473" v="326" actId="1076"/>
          <ac:spMkLst>
            <pc:docMk/>
            <pc:sldMk cId="2443892533" sldId="643"/>
            <ac:spMk id="3" creationId="{E7ECD19B-85BC-6652-2856-676802964CFA}"/>
          </ac:spMkLst>
        </pc:spChg>
        <pc:spChg chg="add mod">
          <ac:chgData name="Eileen Fleming Suse" userId="S::efs3844@ads.northwestern.edu::725c94ef-d051-42d7-9d33-8572765d592b" providerId="AD" clId="Web-{61DCECB8-FCC4-463F-180A-DE94BEA715D4}" dt="2023-10-30T22:45:26.052" v="333" actId="1076"/>
          <ac:spMkLst>
            <pc:docMk/>
            <pc:sldMk cId="2443892533" sldId="643"/>
            <ac:spMk id="10" creationId="{F7DE78CF-32A6-61A0-EEC5-F837E089D3A4}"/>
          </ac:spMkLst>
        </pc:spChg>
        <pc:picChg chg="add mod">
          <ac:chgData name="Eileen Fleming Suse" userId="S::efs3844@ads.northwestern.edu::725c94ef-d051-42d7-9d33-8572765d592b" providerId="AD" clId="Web-{61DCECB8-FCC4-463F-180A-DE94BEA715D4}" dt="2023-10-30T22:44:40.629" v="327" actId="1076"/>
          <ac:picMkLst>
            <pc:docMk/>
            <pc:sldMk cId="2443892533" sldId="643"/>
            <ac:picMk id="6" creationId="{3066B4FD-BDBD-74CF-7224-C3F9CDFF7807}"/>
          </ac:picMkLst>
        </pc:picChg>
        <pc:picChg chg="add mod">
          <ac:chgData name="Eileen Fleming Suse" userId="S::efs3844@ads.northwestern.edu::725c94ef-d051-42d7-9d33-8572765d592b" providerId="AD" clId="Web-{61DCECB8-FCC4-463F-180A-DE94BEA715D4}" dt="2023-10-30T22:44:49.645" v="328" actId="1076"/>
          <ac:picMkLst>
            <pc:docMk/>
            <pc:sldMk cId="2443892533" sldId="643"/>
            <ac:picMk id="7" creationId="{8561AC10-C045-61C5-C572-29E58C8EEF9B}"/>
          </ac:picMkLst>
        </pc:picChg>
        <pc:picChg chg="add del mod">
          <ac:chgData name="Eileen Fleming Suse" userId="S::efs3844@ads.northwestern.edu::725c94ef-d051-42d7-9d33-8572765d592b" providerId="AD" clId="Web-{61DCECB8-FCC4-463F-180A-DE94BEA715D4}" dt="2023-10-30T22:42:02.500" v="309"/>
          <ac:picMkLst>
            <pc:docMk/>
            <pc:sldMk cId="2443892533" sldId="643"/>
            <ac:picMk id="8" creationId="{56E0414E-9ADF-67F2-0036-4AC949F0B367}"/>
          </ac:picMkLst>
        </pc:picChg>
        <pc:picChg chg="add mod">
          <ac:chgData name="Eileen Fleming Suse" userId="S::efs3844@ads.northwestern.edu::725c94ef-d051-42d7-9d33-8572765d592b" providerId="AD" clId="Web-{61DCECB8-FCC4-463F-180A-DE94BEA715D4}" dt="2023-10-30T22:45:16.927" v="332" actId="14100"/>
          <ac:picMkLst>
            <pc:docMk/>
            <pc:sldMk cId="2443892533" sldId="643"/>
            <ac:picMk id="9" creationId="{EBD31F80-F4AE-0A76-9CD2-E23AD71C79DA}"/>
          </ac:picMkLst>
        </pc:picChg>
      </pc:sldChg>
    </pc:docChg>
  </pc:docChgLst>
  <pc:docChgLst>
    <pc:chgData name="Caldarelli, Leslie" userId="S::lcaldarelli_luriechildrens.org#ext#@nuwildcat.onmicrosoft.com::cd79b54d-c14e-4199-a04a-39c6f592e710" providerId="AD" clId="Web-{3A3E4FEE-6F9B-7EC3-B167-3C31BBE96824}"/>
    <pc:docChg chg="modSld">
      <pc:chgData name="Caldarelli, Leslie" userId="S::lcaldarelli_luriechildrens.org#ext#@nuwildcat.onmicrosoft.com::cd79b54d-c14e-4199-a04a-39c6f592e710" providerId="AD" clId="Web-{3A3E4FEE-6F9B-7EC3-B167-3C31BBE96824}" dt="2023-10-31T16:46:24.002" v="562"/>
      <pc:docMkLst>
        <pc:docMk/>
      </pc:docMkLst>
      <pc:sldChg chg="modSp">
        <pc:chgData name="Caldarelli, Leslie" userId="S::lcaldarelli_luriechildrens.org#ext#@nuwildcat.onmicrosoft.com::cd79b54d-c14e-4199-a04a-39c6f592e710" providerId="AD" clId="Web-{3A3E4FEE-6F9B-7EC3-B167-3C31BBE96824}" dt="2023-10-31T15:32:47.201" v="7" actId="20577"/>
        <pc:sldMkLst>
          <pc:docMk/>
          <pc:sldMk cId="3127921386" sldId="280"/>
        </pc:sldMkLst>
        <pc:spChg chg="mod">
          <ac:chgData name="Caldarelli, Leslie" userId="S::lcaldarelli_luriechildrens.org#ext#@nuwildcat.onmicrosoft.com::cd79b54d-c14e-4199-a04a-39c6f592e710" providerId="AD" clId="Web-{3A3E4FEE-6F9B-7EC3-B167-3C31BBE96824}" dt="2023-10-31T15:32:47.201" v="7" actId="20577"/>
          <ac:spMkLst>
            <pc:docMk/>
            <pc:sldMk cId="3127921386" sldId="280"/>
            <ac:spMk id="9" creationId="{7F20A429-9947-F447-2DF2-A5C17B5C6EC1}"/>
          </ac:spMkLst>
        </pc:spChg>
      </pc:sldChg>
      <pc:sldChg chg="modSp">
        <pc:chgData name="Caldarelli, Leslie" userId="S::lcaldarelli_luriechildrens.org#ext#@nuwildcat.onmicrosoft.com::cd79b54d-c14e-4199-a04a-39c6f592e710" providerId="AD" clId="Web-{3A3E4FEE-6F9B-7EC3-B167-3C31BBE96824}" dt="2023-10-31T15:41:06.250" v="123" actId="1076"/>
        <pc:sldMkLst>
          <pc:docMk/>
          <pc:sldMk cId="3635595752" sldId="545"/>
        </pc:sldMkLst>
        <pc:spChg chg="mod">
          <ac:chgData name="Caldarelli, Leslie" userId="S::lcaldarelli_luriechildrens.org#ext#@nuwildcat.onmicrosoft.com::cd79b54d-c14e-4199-a04a-39c6f592e710" providerId="AD" clId="Web-{3A3E4FEE-6F9B-7EC3-B167-3C31BBE96824}" dt="2023-10-31T15:41:06.250" v="123" actId="1076"/>
          <ac:spMkLst>
            <pc:docMk/>
            <pc:sldMk cId="3635595752" sldId="545"/>
            <ac:spMk id="2" creationId="{39AAB3FF-760A-B654-5F1B-78AD5BEB6B57}"/>
          </ac:spMkLst>
        </pc:spChg>
      </pc:sldChg>
      <pc:sldChg chg="modNotes">
        <pc:chgData name="Caldarelli, Leslie" userId="S::lcaldarelli_luriechildrens.org#ext#@nuwildcat.onmicrosoft.com::cd79b54d-c14e-4199-a04a-39c6f592e710" providerId="AD" clId="Web-{3A3E4FEE-6F9B-7EC3-B167-3C31BBE96824}" dt="2023-10-31T16:30:46.170" v="461"/>
        <pc:sldMkLst>
          <pc:docMk/>
          <pc:sldMk cId="3745706804" sldId="548"/>
        </pc:sldMkLst>
      </pc:sldChg>
      <pc:sldChg chg="addSp delSp modSp mod setBg addAnim delAnim setClrOvrMap">
        <pc:chgData name="Caldarelli, Leslie" userId="S::lcaldarelli_luriechildrens.org#ext#@nuwildcat.onmicrosoft.com::cd79b54d-c14e-4199-a04a-39c6f592e710" providerId="AD" clId="Web-{3A3E4FEE-6F9B-7EC3-B167-3C31BBE96824}" dt="2023-10-31T16:35:55.119" v="485" actId="20577"/>
        <pc:sldMkLst>
          <pc:docMk/>
          <pc:sldMk cId="3962270618" sldId="549"/>
        </pc:sldMkLst>
        <pc:spChg chg="mod">
          <ac:chgData name="Caldarelli, Leslie" userId="S::lcaldarelli_luriechildrens.org#ext#@nuwildcat.onmicrosoft.com::cd79b54d-c14e-4199-a04a-39c6f592e710" providerId="AD" clId="Web-{3A3E4FEE-6F9B-7EC3-B167-3C31BBE96824}" dt="2023-10-31T16:35:55.119" v="485" actId="20577"/>
          <ac:spMkLst>
            <pc:docMk/>
            <pc:sldMk cId="3962270618" sldId="549"/>
            <ac:spMk id="2" creationId="{D2A51686-B2DC-CDBE-63AE-C97B6B0DBD66}"/>
          </ac:spMkLst>
        </pc:spChg>
        <pc:spChg chg="mod">
          <ac:chgData name="Caldarelli, Leslie" userId="S::lcaldarelli_luriechildrens.org#ext#@nuwildcat.onmicrosoft.com::cd79b54d-c14e-4199-a04a-39c6f592e710" providerId="AD" clId="Web-{3A3E4FEE-6F9B-7EC3-B167-3C31BBE96824}" dt="2023-10-31T16:35:19.696" v="483"/>
          <ac:spMkLst>
            <pc:docMk/>
            <pc:sldMk cId="3962270618" sldId="549"/>
            <ac:spMk id="3" creationId="{CBB95935-58B8-573E-DAFB-D9AE51F0FF09}"/>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9" creationId="{C1DD1A8A-57D5-4A81-AD04-532B043C5611}"/>
          </ac:spMkLst>
        </pc:spChg>
        <pc:spChg chg="add del">
          <ac:chgData name="Caldarelli, Leslie" userId="S::lcaldarelli_luriechildrens.org#ext#@nuwildcat.onmicrosoft.com::cd79b54d-c14e-4199-a04a-39c6f592e710" providerId="AD" clId="Web-{3A3E4FEE-6F9B-7EC3-B167-3C31BBE96824}" dt="2023-10-31T16:34:44.820" v="470"/>
          <ac:spMkLst>
            <pc:docMk/>
            <pc:sldMk cId="3962270618" sldId="549"/>
            <ac:spMk id="11" creationId="{007891EC-4501-44ED-A8C8-B11B6DB767AB}"/>
          </ac:spMkLst>
        </pc:spChg>
        <pc:spChg chg="add del">
          <ac:chgData name="Caldarelli, Leslie" userId="S::lcaldarelli_luriechildrens.org#ext#@nuwildcat.onmicrosoft.com::cd79b54d-c14e-4199-a04a-39c6f592e710" providerId="AD" clId="Web-{3A3E4FEE-6F9B-7EC3-B167-3C31BBE96824}" dt="2023-10-31T16:34:55.773" v="474"/>
          <ac:spMkLst>
            <pc:docMk/>
            <pc:sldMk cId="3962270618" sldId="549"/>
            <ac:spMk id="13" creationId="{71B2258F-86CA-4D4D-8270-BC05FCDEBFB3}"/>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6" creationId="{C1DD1A8A-57D5-4A81-AD04-532B043C5611}"/>
          </ac:spMkLst>
        </pc:spChg>
        <pc:spChg chg="add del">
          <ac:chgData name="Caldarelli, Leslie" userId="S::lcaldarelli_luriechildrens.org#ext#@nuwildcat.onmicrosoft.com::cd79b54d-c14e-4199-a04a-39c6f592e710" providerId="AD" clId="Web-{3A3E4FEE-6F9B-7EC3-B167-3C31BBE96824}" dt="2023-10-31T16:35:07.935" v="478"/>
          <ac:spMkLst>
            <pc:docMk/>
            <pc:sldMk cId="3962270618" sldId="549"/>
            <ac:spMk id="18" creationId="{007891EC-4501-44ED-A8C8-B11B6DB767AB}"/>
          </ac:spMkLst>
        </pc:spChg>
        <pc:spChg chg="add del">
          <ac:chgData name="Caldarelli, Leslie" userId="S::lcaldarelli_luriechildrens.org#ext#@nuwildcat.onmicrosoft.com::cd79b54d-c14e-4199-a04a-39c6f592e710" providerId="AD" clId="Web-{3A3E4FEE-6F9B-7EC3-B167-3C31BBE96824}" dt="2023-10-31T16:35:19.633" v="482"/>
          <ac:spMkLst>
            <pc:docMk/>
            <pc:sldMk cId="3962270618" sldId="549"/>
            <ac:spMk id="20" creationId="{71B2258F-86CA-4D4D-8270-BC05FCDEBFB3}"/>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3" creationId="{C1DD1A8A-57D5-4A81-AD04-532B043C5611}"/>
          </ac:spMkLst>
        </pc:spChg>
        <pc:spChg chg="add">
          <ac:chgData name="Caldarelli, Leslie" userId="S::lcaldarelli_luriechildrens.org#ext#@nuwildcat.onmicrosoft.com::cd79b54d-c14e-4199-a04a-39c6f592e710" providerId="AD" clId="Web-{3A3E4FEE-6F9B-7EC3-B167-3C31BBE96824}" dt="2023-10-31T16:35:19.696" v="483"/>
          <ac:spMkLst>
            <pc:docMk/>
            <pc:sldMk cId="3962270618" sldId="549"/>
            <ac:spMk id="25" creationId="{007891EC-4501-44ED-A8C8-B11B6DB767AB}"/>
          </ac:spMkLst>
        </pc:spChg>
        <pc:picChg chg="add del">
          <ac:chgData name="Caldarelli, Leslie" userId="S::lcaldarelli_luriechildrens.org#ext#@nuwildcat.onmicrosoft.com::cd79b54d-c14e-4199-a04a-39c6f592e710" providerId="AD" clId="Web-{3A3E4FEE-6F9B-7EC3-B167-3C31BBE96824}" dt="2023-10-31T16:34:44.820" v="470"/>
          <ac:picMkLst>
            <pc:docMk/>
            <pc:sldMk cId="3962270618" sldId="549"/>
            <ac:picMk id="5" creationId="{9234C1D4-BF95-D24C-8A69-890193E28AB4}"/>
          </ac:picMkLst>
        </pc:picChg>
        <pc:picChg chg="add del">
          <ac:chgData name="Caldarelli, Leslie" userId="S::lcaldarelli_luriechildrens.org#ext#@nuwildcat.onmicrosoft.com::cd79b54d-c14e-4199-a04a-39c6f592e710" providerId="AD" clId="Web-{3A3E4FEE-6F9B-7EC3-B167-3C31BBE96824}" dt="2023-10-31T16:34:55.773" v="474"/>
          <ac:picMkLst>
            <pc:docMk/>
            <pc:sldMk cId="3962270618" sldId="549"/>
            <ac:picMk id="14" creationId="{D567A817-6C54-F3A2-6BCD-40C724D6CB5B}"/>
          </ac:picMkLst>
        </pc:picChg>
        <pc:picChg chg="add del">
          <ac:chgData name="Caldarelli, Leslie" userId="S::lcaldarelli_luriechildrens.org#ext#@nuwildcat.onmicrosoft.com::cd79b54d-c14e-4199-a04a-39c6f592e710" providerId="AD" clId="Web-{3A3E4FEE-6F9B-7EC3-B167-3C31BBE96824}" dt="2023-10-31T16:35:07.935" v="478"/>
          <ac:picMkLst>
            <pc:docMk/>
            <pc:sldMk cId="3962270618" sldId="549"/>
            <ac:picMk id="17" creationId="{4F03DE1D-DDB8-CDA0-8B03-FFAB4111BF40}"/>
          </ac:picMkLst>
        </pc:picChg>
        <pc:picChg chg="add del">
          <ac:chgData name="Caldarelli, Leslie" userId="S::lcaldarelli_luriechildrens.org#ext#@nuwildcat.onmicrosoft.com::cd79b54d-c14e-4199-a04a-39c6f592e710" providerId="AD" clId="Web-{3A3E4FEE-6F9B-7EC3-B167-3C31BBE96824}" dt="2023-10-31T16:35:19.633" v="482"/>
          <ac:picMkLst>
            <pc:docMk/>
            <pc:sldMk cId="3962270618" sldId="549"/>
            <ac:picMk id="21" creationId="{D567A817-6C54-F3A2-6BCD-40C724D6CB5B}"/>
          </ac:picMkLst>
        </pc:picChg>
        <pc:picChg chg="add">
          <ac:chgData name="Caldarelli, Leslie" userId="S::lcaldarelli_luriechildrens.org#ext#@nuwildcat.onmicrosoft.com::cd79b54d-c14e-4199-a04a-39c6f592e710" providerId="AD" clId="Web-{3A3E4FEE-6F9B-7EC3-B167-3C31BBE96824}" dt="2023-10-31T16:35:19.696" v="483"/>
          <ac:picMkLst>
            <pc:docMk/>
            <pc:sldMk cId="3962270618" sldId="549"/>
            <ac:picMk id="24" creationId="{4F03DE1D-DDB8-CDA0-8B03-FFAB4111BF40}"/>
          </ac:picMkLst>
        </pc:picChg>
      </pc:sldChg>
      <pc:sldChg chg="modSp">
        <pc:chgData name="Caldarelli, Leslie" userId="S::lcaldarelli_luriechildrens.org#ext#@nuwildcat.onmicrosoft.com::cd79b54d-c14e-4199-a04a-39c6f592e710" providerId="AD" clId="Web-{3A3E4FEE-6F9B-7EC3-B167-3C31BBE96824}" dt="2023-10-31T16:34:30.288" v="468" actId="1076"/>
        <pc:sldMkLst>
          <pc:docMk/>
          <pc:sldMk cId="3472964082" sldId="550"/>
        </pc:sldMkLst>
        <pc:spChg chg="mod">
          <ac:chgData name="Caldarelli, Leslie" userId="S::lcaldarelli_luriechildrens.org#ext#@nuwildcat.onmicrosoft.com::cd79b54d-c14e-4199-a04a-39c6f592e710" providerId="AD" clId="Web-{3A3E4FEE-6F9B-7EC3-B167-3C31BBE96824}" dt="2023-10-31T16:34:30.288" v="468" actId="1076"/>
          <ac:spMkLst>
            <pc:docMk/>
            <pc:sldMk cId="3472964082" sldId="550"/>
            <ac:spMk id="14"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33:34.098" v="466" actId="1076"/>
        <pc:sldMkLst>
          <pc:docMk/>
          <pc:sldMk cId="2562283095" sldId="551"/>
        </pc:sldMkLst>
        <pc:spChg chg="mod">
          <ac:chgData name="Caldarelli, Leslie" userId="S::lcaldarelli_luriechildrens.org#ext#@nuwildcat.onmicrosoft.com::cd79b54d-c14e-4199-a04a-39c6f592e710" providerId="AD" clId="Web-{3A3E4FEE-6F9B-7EC3-B167-3C31BBE96824}" dt="2023-10-31T16:32:28.205" v="464" actId="1076"/>
          <ac:spMkLst>
            <pc:docMk/>
            <pc:sldMk cId="2562283095" sldId="551"/>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3:29.832" v="465" actId="1076"/>
          <ac:spMkLst>
            <pc:docMk/>
            <pc:sldMk cId="2562283095" sldId="551"/>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3:34.098" v="466" actId="1076"/>
          <ac:grpSpMkLst>
            <pc:docMk/>
            <pc:sldMk cId="2562283095" sldId="551"/>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5:37:36.618" v="67" actId="1076"/>
        <pc:sldMkLst>
          <pc:docMk/>
          <pc:sldMk cId="714682852" sldId="552"/>
        </pc:sldMkLst>
        <pc:spChg chg="mod">
          <ac:chgData name="Caldarelli, Leslie" userId="S::lcaldarelli_luriechildrens.org#ext#@nuwildcat.onmicrosoft.com::cd79b54d-c14e-4199-a04a-39c6f592e710" providerId="AD" clId="Web-{3A3E4FEE-6F9B-7EC3-B167-3C31BBE96824}" dt="2023-10-31T15:37:36.618" v="67" actId="1076"/>
          <ac:spMkLst>
            <pc:docMk/>
            <pc:sldMk cId="714682852" sldId="552"/>
            <ac:spMk id="19" creationId="{8F56D947-B18E-6292-FB32-17E6BBE1C7B7}"/>
          </ac:spMkLst>
        </pc:spChg>
      </pc:sldChg>
      <pc:sldChg chg="modSp">
        <pc:chgData name="Caldarelli, Leslie" userId="S::lcaldarelli_luriechildrens.org#ext#@nuwildcat.onmicrosoft.com::cd79b54d-c14e-4199-a04a-39c6f592e710" providerId="AD" clId="Web-{3A3E4FEE-6F9B-7EC3-B167-3C31BBE96824}" dt="2023-10-31T15:39:37.794" v="95" actId="14100"/>
        <pc:sldMkLst>
          <pc:docMk/>
          <pc:sldMk cId="1522616096" sldId="555"/>
        </pc:sldMkLst>
        <pc:spChg chg="mod">
          <ac:chgData name="Caldarelli, Leslie" userId="S::lcaldarelli_luriechildrens.org#ext#@nuwildcat.onmicrosoft.com::cd79b54d-c14e-4199-a04a-39c6f592e710" providerId="AD" clId="Web-{3A3E4FEE-6F9B-7EC3-B167-3C31BBE96824}" dt="2023-10-31T15:39:37.794" v="95" actId="14100"/>
          <ac:spMkLst>
            <pc:docMk/>
            <pc:sldMk cId="1522616096" sldId="555"/>
            <ac:spMk id="2" creationId="{F40AE700-1499-46B3-C70A-C723802CD680}"/>
          </ac:spMkLst>
        </pc:spChg>
      </pc:sldChg>
      <pc:sldChg chg="modSp modNotes">
        <pc:chgData name="Caldarelli, Leslie" userId="S::lcaldarelli_luriechildrens.org#ext#@nuwildcat.onmicrosoft.com::cd79b54d-c14e-4199-a04a-39c6f592e710" providerId="AD" clId="Web-{3A3E4FEE-6F9B-7EC3-B167-3C31BBE96824}" dt="2023-10-31T15:36:18.880" v="66"/>
        <pc:sldMkLst>
          <pc:docMk/>
          <pc:sldMk cId="1514756035" sldId="556"/>
        </pc:sldMkLst>
        <pc:spChg chg="mod">
          <ac:chgData name="Caldarelli, Leslie" userId="S::lcaldarelli_luriechildrens.org#ext#@nuwildcat.onmicrosoft.com::cd79b54d-c14e-4199-a04a-39c6f592e710" providerId="AD" clId="Web-{3A3E4FEE-6F9B-7EC3-B167-3C31BBE96824}" dt="2023-10-31T15:34:46.736" v="60" actId="20577"/>
          <ac:spMkLst>
            <pc:docMk/>
            <pc:sldMk cId="1514756035" sldId="556"/>
            <ac:spMk id="48" creationId="{9DA002CE-213B-0EFE-03DC-C3DB65BCF003}"/>
          </ac:spMkLst>
        </pc:spChg>
      </pc:sldChg>
      <pc:sldChg chg="modSp">
        <pc:chgData name="Caldarelli, Leslie" userId="S::lcaldarelli_luriechildrens.org#ext#@nuwildcat.onmicrosoft.com::cd79b54d-c14e-4199-a04a-39c6f592e710" providerId="AD" clId="Web-{3A3E4FEE-6F9B-7EC3-B167-3C31BBE96824}" dt="2023-10-31T15:42:29.409" v="146" actId="20577"/>
        <pc:sldMkLst>
          <pc:docMk/>
          <pc:sldMk cId="773696652" sldId="558"/>
        </pc:sldMkLst>
        <pc:spChg chg="mod">
          <ac:chgData name="Caldarelli, Leslie" userId="S::lcaldarelli_luriechildrens.org#ext#@nuwildcat.onmicrosoft.com::cd79b54d-c14e-4199-a04a-39c6f592e710" providerId="AD" clId="Web-{3A3E4FEE-6F9B-7EC3-B167-3C31BBE96824}" dt="2023-10-31T15:42:29.409" v="146" actId="20577"/>
          <ac:spMkLst>
            <pc:docMk/>
            <pc:sldMk cId="773696652" sldId="558"/>
            <ac:spMk id="2" creationId="{F40AE700-1499-46B3-C70A-C723802CD680}"/>
          </ac:spMkLst>
        </pc:spChg>
      </pc:sldChg>
      <pc:sldChg chg="modSp">
        <pc:chgData name="Caldarelli, Leslie" userId="S::lcaldarelli_luriechildrens.org#ext#@nuwildcat.onmicrosoft.com::cd79b54d-c14e-4199-a04a-39c6f592e710" providerId="AD" clId="Web-{3A3E4FEE-6F9B-7EC3-B167-3C31BBE96824}" dt="2023-10-31T16:36:35.433" v="487" actId="20577"/>
        <pc:sldMkLst>
          <pc:docMk/>
          <pc:sldMk cId="3067427377" sldId="560"/>
        </pc:sldMkLst>
        <pc:spChg chg="mod">
          <ac:chgData name="Caldarelli, Leslie" userId="S::lcaldarelli_luriechildrens.org#ext#@nuwildcat.onmicrosoft.com::cd79b54d-c14e-4199-a04a-39c6f592e710" providerId="AD" clId="Web-{3A3E4FEE-6F9B-7EC3-B167-3C31BBE96824}" dt="2023-10-31T16:36:35.433" v="487" actId="20577"/>
          <ac:spMkLst>
            <pc:docMk/>
            <pc:sldMk cId="3067427377" sldId="560"/>
            <ac:spMk id="2" creationId="{85302686-DF06-3304-66CB-1E21F4D086DC}"/>
          </ac:spMkLst>
        </pc:spChg>
      </pc:sldChg>
      <pc:sldChg chg="modSp">
        <pc:chgData name="Caldarelli, Leslie" userId="S::lcaldarelli_luriechildrens.org#ext#@nuwildcat.onmicrosoft.com::cd79b54d-c14e-4199-a04a-39c6f592e710" providerId="AD" clId="Web-{3A3E4FEE-6F9B-7EC3-B167-3C31BBE96824}" dt="2023-10-31T15:57:10.707" v="211" actId="1076"/>
        <pc:sldMkLst>
          <pc:docMk/>
          <pc:sldMk cId="3845418986" sldId="563"/>
        </pc:sldMkLst>
        <pc:spChg chg="mod">
          <ac:chgData name="Caldarelli, Leslie" userId="S::lcaldarelli_luriechildrens.org#ext#@nuwildcat.onmicrosoft.com::cd79b54d-c14e-4199-a04a-39c6f592e710" providerId="AD" clId="Web-{3A3E4FEE-6F9B-7EC3-B167-3C31BBE96824}" dt="2023-10-31T15:57:10.707" v="211" actId="1076"/>
          <ac:spMkLst>
            <pc:docMk/>
            <pc:sldMk cId="3845418986" sldId="563"/>
            <ac:spMk id="51" creationId="{233EFC40-2641-E728-F412-79899FC6D0D7}"/>
          </ac:spMkLst>
        </pc:spChg>
      </pc:sldChg>
      <pc:sldChg chg="modSp">
        <pc:chgData name="Caldarelli, Leslie" userId="S::lcaldarelli_luriechildrens.org#ext#@nuwildcat.onmicrosoft.com::cd79b54d-c14e-4199-a04a-39c6f592e710" providerId="AD" clId="Web-{3A3E4FEE-6F9B-7EC3-B167-3C31BBE96824}" dt="2023-10-31T16:06:34.337" v="245" actId="1076"/>
        <pc:sldMkLst>
          <pc:docMk/>
          <pc:sldMk cId="3419957415" sldId="577"/>
        </pc:sldMkLst>
        <pc:spChg chg="mod">
          <ac:chgData name="Caldarelli, Leslie" userId="S::lcaldarelli_luriechildrens.org#ext#@nuwildcat.onmicrosoft.com::cd79b54d-c14e-4199-a04a-39c6f592e710" providerId="AD" clId="Web-{3A3E4FEE-6F9B-7EC3-B167-3C31BBE96824}" dt="2023-10-31T15:55:30.219" v="210" actId="1076"/>
          <ac:spMkLst>
            <pc:docMk/>
            <pc:sldMk cId="3419957415" sldId="577"/>
            <ac:spMk id="23" creationId="{00000000-0000-0000-0000-000000000000}"/>
          </ac:spMkLst>
        </pc:spChg>
        <pc:spChg chg="mod">
          <ac:chgData name="Caldarelli, Leslie" userId="S::lcaldarelli_luriechildrens.org#ext#@nuwildcat.onmicrosoft.com::cd79b54d-c14e-4199-a04a-39c6f592e710" providerId="AD" clId="Web-{3A3E4FEE-6F9B-7EC3-B167-3C31BBE96824}" dt="2023-10-31T16:06:34.337" v="245" actId="1076"/>
          <ac:spMkLst>
            <pc:docMk/>
            <pc:sldMk cId="3419957415" sldId="577"/>
            <ac:spMk id="65" creationId="{28CD4543-B35F-C7BE-C5DB-7DF0067C551A}"/>
          </ac:spMkLst>
        </pc:spChg>
      </pc:sldChg>
      <pc:sldChg chg="modSp">
        <pc:chgData name="Caldarelli, Leslie" userId="S::lcaldarelli_luriechildrens.org#ext#@nuwildcat.onmicrosoft.com::cd79b54d-c14e-4199-a04a-39c6f592e710" providerId="AD" clId="Web-{3A3E4FEE-6F9B-7EC3-B167-3C31BBE96824}" dt="2023-10-31T16:22:43.293" v="377" actId="1076"/>
        <pc:sldMkLst>
          <pc:docMk/>
          <pc:sldMk cId="785115983" sldId="578"/>
        </pc:sldMkLst>
        <pc:spChg chg="mod">
          <ac:chgData name="Caldarelli, Leslie" userId="S::lcaldarelli_luriechildrens.org#ext#@nuwildcat.onmicrosoft.com::cd79b54d-c14e-4199-a04a-39c6f592e710" providerId="AD" clId="Web-{3A3E4FEE-6F9B-7EC3-B167-3C31BBE96824}" dt="2023-10-31T16:22:43.293" v="377" actId="1076"/>
          <ac:spMkLst>
            <pc:docMk/>
            <pc:sldMk cId="785115983" sldId="578"/>
            <ac:spMk id="54" creationId="{3719DC3C-330E-96DC-F3E0-D6B8EE5E5A3C}"/>
          </ac:spMkLst>
        </pc:spChg>
      </pc:sldChg>
      <pc:sldChg chg="modSp modNotes">
        <pc:chgData name="Caldarelli, Leslie" userId="S::lcaldarelli_luriechildrens.org#ext#@nuwildcat.onmicrosoft.com::cd79b54d-c14e-4199-a04a-39c6f592e710" providerId="AD" clId="Web-{3A3E4FEE-6F9B-7EC3-B167-3C31BBE96824}" dt="2023-10-31T16:19:01.207" v="317"/>
        <pc:sldMkLst>
          <pc:docMk/>
          <pc:sldMk cId="3030449316" sldId="579"/>
        </pc:sldMkLst>
        <pc:spChg chg="mod">
          <ac:chgData name="Caldarelli, Leslie" userId="S::lcaldarelli_luriechildrens.org#ext#@nuwildcat.onmicrosoft.com::cd79b54d-c14e-4199-a04a-39c6f592e710" providerId="AD" clId="Web-{3A3E4FEE-6F9B-7EC3-B167-3C31BBE96824}" dt="2023-10-31T16:18:25.362" v="289" actId="20577"/>
          <ac:spMkLst>
            <pc:docMk/>
            <pc:sldMk cId="3030449316" sldId="579"/>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15:55.341" v="280" actId="1076"/>
          <ac:spMkLst>
            <pc:docMk/>
            <pc:sldMk cId="3030449316" sldId="579"/>
            <ac:spMk id="56" creationId="{AB0F7BDF-C613-8BB0-BFCB-8F26B40EC06E}"/>
          </ac:spMkLst>
        </pc:spChg>
      </pc:sldChg>
      <pc:sldChg chg="modSp">
        <pc:chgData name="Caldarelli, Leslie" userId="S::lcaldarelli_luriechildrens.org#ext#@nuwildcat.onmicrosoft.com::cd79b54d-c14e-4199-a04a-39c6f592e710" providerId="AD" clId="Web-{3A3E4FEE-6F9B-7EC3-B167-3C31BBE96824}" dt="2023-10-31T16:05:55.132" v="238" actId="14100"/>
        <pc:sldMkLst>
          <pc:docMk/>
          <pc:sldMk cId="4283907660" sldId="580"/>
        </pc:sldMkLst>
        <pc:spChg chg="mod">
          <ac:chgData name="Caldarelli, Leslie" userId="S::lcaldarelli_luriechildrens.org#ext#@nuwildcat.onmicrosoft.com::cd79b54d-c14e-4199-a04a-39c6f592e710" providerId="AD" clId="Web-{3A3E4FEE-6F9B-7EC3-B167-3C31BBE96824}" dt="2023-10-31T16:05:55.132" v="238" actId="14100"/>
          <ac:spMkLst>
            <pc:docMk/>
            <pc:sldMk cId="4283907660" sldId="580"/>
            <ac:spMk id="71" creationId="{755536B4-F5C2-3697-61E6-0681DE0C12BD}"/>
          </ac:spMkLst>
        </pc:spChg>
      </pc:sldChg>
      <pc:sldChg chg="modSp">
        <pc:chgData name="Caldarelli, Leslie" userId="S::lcaldarelli_luriechildrens.org#ext#@nuwildcat.onmicrosoft.com::cd79b54d-c14e-4199-a04a-39c6f592e710" providerId="AD" clId="Web-{3A3E4FEE-6F9B-7EC3-B167-3C31BBE96824}" dt="2023-10-31T16:06:16.117" v="242" actId="1076"/>
        <pc:sldMkLst>
          <pc:docMk/>
          <pc:sldMk cId="3429940818" sldId="581"/>
        </pc:sldMkLst>
        <pc:spChg chg="mod">
          <ac:chgData name="Caldarelli, Leslie" userId="S::lcaldarelli_luriechildrens.org#ext#@nuwildcat.onmicrosoft.com::cd79b54d-c14e-4199-a04a-39c6f592e710" providerId="AD" clId="Web-{3A3E4FEE-6F9B-7EC3-B167-3C31BBE96824}" dt="2023-10-31T15:59:33.212" v="212" actId="1076"/>
          <ac:spMkLst>
            <pc:docMk/>
            <pc:sldMk cId="3429940818" sldId="581"/>
            <ac:spMk id="68" creationId="{00000000-0000-0000-0000-000000000000}"/>
          </ac:spMkLst>
        </pc:spChg>
        <pc:spChg chg="mod">
          <ac:chgData name="Caldarelli, Leslie" userId="S::lcaldarelli_luriechildrens.org#ext#@nuwildcat.onmicrosoft.com::cd79b54d-c14e-4199-a04a-39c6f592e710" providerId="AD" clId="Web-{3A3E4FEE-6F9B-7EC3-B167-3C31BBE96824}" dt="2023-10-31T16:06:16.117" v="242" actId="1076"/>
          <ac:spMkLst>
            <pc:docMk/>
            <pc:sldMk cId="3429940818" sldId="581"/>
            <ac:spMk id="75" creationId="{20D2DCD7-9B15-FB75-E33B-CECC88A394B8}"/>
          </ac:spMkLst>
        </pc:spChg>
      </pc:sldChg>
      <pc:sldChg chg="modNotes">
        <pc:chgData name="Caldarelli, Leslie" userId="S::lcaldarelli_luriechildrens.org#ext#@nuwildcat.onmicrosoft.com::cd79b54d-c14e-4199-a04a-39c6f592e710" providerId="AD" clId="Web-{3A3E4FEE-6F9B-7EC3-B167-3C31BBE96824}" dt="2023-10-31T15:44:25.335" v="147"/>
        <pc:sldMkLst>
          <pc:docMk/>
          <pc:sldMk cId="3870927286" sldId="583"/>
        </pc:sldMkLst>
      </pc:sldChg>
      <pc:sldChg chg="modSp">
        <pc:chgData name="Caldarelli, Leslie" userId="S::lcaldarelli_luriechildrens.org#ext#@nuwildcat.onmicrosoft.com::cd79b54d-c14e-4199-a04a-39c6f592e710" providerId="AD" clId="Web-{3A3E4FEE-6F9B-7EC3-B167-3C31BBE96824}" dt="2023-10-31T16:04:27.769" v="228" actId="20577"/>
        <pc:sldMkLst>
          <pc:docMk/>
          <pc:sldMk cId="3573947264" sldId="584"/>
        </pc:sldMkLst>
        <pc:spChg chg="mod">
          <ac:chgData name="Caldarelli, Leslie" userId="S::lcaldarelli_luriechildrens.org#ext#@nuwildcat.onmicrosoft.com::cd79b54d-c14e-4199-a04a-39c6f592e710" providerId="AD" clId="Web-{3A3E4FEE-6F9B-7EC3-B167-3C31BBE96824}" dt="2023-10-31T16:04:27.769" v="228" actId="20577"/>
          <ac:spMkLst>
            <pc:docMk/>
            <pc:sldMk cId="3573947264" sldId="584"/>
            <ac:spMk id="42" creationId="{E9E3C6CF-96AA-68D8-0977-EC06066DAB15}"/>
          </ac:spMkLst>
        </pc:spChg>
      </pc:sldChg>
      <pc:sldChg chg="modSp modNotes">
        <pc:chgData name="Caldarelli, Leslie" userId="S::lcaldarelli_luriechildrens.org#ext#@nuwildcat.onmicrosoft.com::cd79b54d-c14e-4199-a04a-39c6f592e710" providerId="AD" clId="Web-{3A3E4FEE-6F9B-7EC3-B167-3C31BBE96824}" dt="2023-10-31T16:30:34.998" v="460" actId="1076"/>
        <pc:sldMkLst>
          <pc:docMk/>
          <pc:sldMk cId="3561966490" sldId="585"/>
        </pc:sldMkLst>
        <pc:spChg chg="mod">
          <ac:chgData name="Caldarelli, Leslie" userId="S::lcaldarelli_luriechildrens.org#ext#@nuwildcat.onmicrosoft.com::cd79b54d-c14e-4199-a04a-39c6f592e710" providerId="AD" clId="Web-{3A3E4FEE-6F9B-7EC3-B167-3C31BBE96824}" dt="2023-10-31T16:25:13.768" v="380" actId="20577"/>
          <ac:spMkLst>
            <pc:docMk/>
            <pc:sldMk cId="3561966490" sldId="585"/>
            <ac:spMk id="10" creationId="{00000000-0000-0000-0000-000000000000}"/>
          </ac:spMkLst>
        </pc:spChg>
        <pc:spChg chg="mod">
          <ac:chgData name="Caldarelli, Leslie" userId="S::lcaldarelli_luriechildrens.org#ext#@nuwildcat.onmicrosoft.com::cd79b54d-c14e-4199-a04a-39c6f592e710" providerId="AD" clId="Web-{3A3E4FEE-6F9B-7EC3-B167-3C31BBE96824}" dt="2023-10-31T16:30:34.998" v="460" actId="1076"/>
          <ac:spMkLst>
            <pc:docMk/>
            <pc:sldMk cId="3561966490" sldId="585"/>
            <ac:spMk id="19" creationId="{00000000-0000-0000-0000-000000000000}"/>
          </ac:spMkLst>
        </pc:spChg>
        <pc:spChg chg="mod">
          <ac:chgData name="Caldarelli, Leslie" userId="S::lcaldarelli_luriechildrens.org#ext#@nuwildcat.onmicrosoft.com::cd79b54d-c14e-4199-a04a-39c6f592e710" providerId="AD" clId="Web-{3A3E4FEE-6F9B-7EC3-B167-3C31BBE96824}" dt="2023-10-31T16:25:17.846" v="382" actId="20577"/>
          <ac:spMkLst>
            <pc:docMk/>
            <pc:sldMk cId="3561966490" sldId="585"/>
            <ac:spMk id="20" creationId="{00000000-0000-0000-0000-000000000000}"/>
          </ac:spMkLst>
        </pc:spChg>
        <pc:spChg chg="mod">
          <ac:chgData name="Caldarelli, Leslie" userId="S::lcaldarelli_luriechildrens.org#ext#@nuwildcat.onmicrosoft.com::cd79b54d-c14e-4199-a04a-39c6f592e710" providerId="AD" clId="Web-{3A3E4FEE-6F9B-7EC3-B167-3C31BBE96824}" dt="2023-10-31T16:25:25.331" v="384" actId="20577"/>
          <ac:spMkLst>
            <pc:docMk/>
            <pc:sldMk cId="3561966490" sldId="585"/>
            <ac:spMk id="21" creationId="{00000000-0000-0000-0000-000000000000}"/>
          </ac:spMkLst>
        </pc:spChg>
        <pc:spChg chg="mod">
          <ac:chgData name="Caldarelli, Leslie" userId="S::lcaldarelli_luriechildrens.org#ext#@nuwildcat.onmicrosoft.com::cd79b54d-c14e-4199-a04a-39c6f592e710" providerId="AD" clId="Web-{3A3E4FEE-6F9B-7EC3-B167-3C31BBE96824}" dt="2023-10-31T16:30:08.481" v="459" actId="20577"/>
          <ac:spMkLst>
            <pc:docMk/>
            <pc:sldMk cId="3561966490" sldId="585"/>
            <ac:spMk id="22" creationId="{00000000-0000-0000-0000-000000000000}"/>
          </ac:spMkLst>
        </pc:spChg>
      </pc:sldChg>
      <pc:sldChg chg="modSp modNotes">
        <pc:chgData name="Caldarelli, Leslie" userId="S::lcaldarelli_luriechildrens.org#ext#@nuwildcat.onmicrosoft.com::cd79b54d-c14e-4199-a04a-39c6f592e710" providerId="AD" clId="Web-{3A3E4FEE-6F9B-7EC3-B167-3C31BBE96824}" dt="2023-10-31T16:22:00.792" v="370"/>
        <pc:sldMkLst>
          <pc:docMk/>
          <pc:sldMk cId="3809547791" sldId="586"/>
        </pc:sldMkLst>
        <pc:spChg chg="mod">
          <ac:chgData name="Caldarelli, Leslie" userId="S::lcaldarelli_luriechildrens.org#ext#@nuwildcat.onmicrosoft.com::cd79b54d-c14e-4199-a04a-39c6f592e710" providerId="AD" clId="Web-{3A3E4FEE-6F9B-7EC3-B167-3C31BBE96824}" dt="2023-10-31T16:21:04.915" v="357" actId="14100"/>
          <ac:spMkLst>
            <pc:docMk/>
            <pc:sldMk cId="3809547791" sldId="586"/>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20:34.726" v="349" actId="20577"/>
          <ac:spMkLst>
            <pc:docMk/>
            <pc:sldMk cId="3809547791" sldId="586"/>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5:17.887" v="273" actId="20577"/>
        <pc:sldMkLst>
          <pc:docMk/>
          <pc:sldMk cId="1598854783" sldId="587"/>
        </pc:sldMkLst>
        <pc:spChg chg="mod">
          <ac:chgData name="Caldarelli, Leslie" userId="S::lcaldarelli_luriechildrens.org#ext#@nuwildcat.onmicrosoft.com::cd79b54d-c14e-4199-a04a-39c6f592e710" providerId="AD" clId="Web-{3A3E4FEE-6F9B-7EC3-B167-3C31BBE96824}" dt="2023-10-31T16:15:06.464" v="271" actId="20577"/>
          <ac:spMkLst>
            <pc:docMk/>
            <pc:sldMk cId="1598854783" sldId="587"/>
            <ac:spMk id="37" creationId="{00000000-0000-0000-0000-000000000000}"/>
          </ac:spMkLst>
        </pc:spChg>
        <pc:spChg chg="mod">
          <ac:chgData name="Caldarelli, Leslie" userId="S::lcaldarelli_luriechildrens.org#ext#@nuwildcat.onmicrosoft.com::cd79b54d-c14e-4199-a04a-39c6f592e710" providerId="AD" clId="Web-{3A3E4FEE-6F9B-7EC3-B167-3C31BBE96824}" dt="2023-10-31T16:14:11.994" v="267" actId="20577"/>
          <ac:spMkLst>
            <pc:docMk/>
            <pc:sldMk cId="1598854783" sldId="587"/>
            <ac:spMk id="38" creationId="{00000000-0000-0000-0000-000000000000}"/>
          </ac:spMkLst>
        </pc:spChg>
        <pc:spChg chg="mod">
          <ac:chgData name="Caldarelli, Leslie" userId="S::lcaldarelli_luriechildrens.org#ext#@nuwildcat.onmicrosoft.com::cd79b54d-c14e-4199-a04a-39c6f592e710" providerId="AD" clId="Web-{3A3E4FEE-6F9B-7EC3-B167-3C31BBE96824}" dt="2023-10-31T16:15:17.887" v="273" actId="20577"/>
          <ac:spMkLst>
            <pc:docMk/>
            <pc:sldMk cId="1598854783" sldId="587"/>
            <ac:spMk id="39" creationId="{00000000-0000-0000-0000-000000000000}"/>
          </ac:spMkLst>
        </pc:spChg>
        <pc:spChg chg="mod">
          <ac:chgData name="Caldarelli, Leslie" userId="S::lcaldarelli_luriechildrens.org#ext#@nuwildcat.onmicrosoft.com::cd79b54d-c14e-4199-a04a-39c6f592e710" providerId="AD" clId="Web-{3A3E4FEE-6F9B-7EC3-B167-3C31BBE96824}" dt="2023-10-31T16:13:05.398" v="264" actId="20577"/>
          <ac:spMkLst>
            <pc:docMk/>
            <pc:sldMk cId="1598854783" sldId="587"/>
            <ac:spMk id="42"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1:44.067" v="259" actId="20577"/>
        <pc:sldMkLst>
          <pc:docMk/>
          <pc:sldMk cId="3832963388" sldId="588"/>
        </pc:sldMkLst>
        <pc:spChg chg="mod">
          <ac:chgData name="Caldarelli, Leslie" userId="S::lcaldarelli_luriechildrens.org#ext#@nuwildcat.onmicrosoft.com::cd79b54d-c14e-4199-a04a-39c6f592e710" providerId="AD" clId="Web-{3A3E4FEE-6F9B-7EC3-B167-3C31BBE96824}" dt="2023-10-31T16:11:44.067" v="259" actId="20577"/>
          <ac:spMkLst>
            <pc:docMk/>
            <pc:sldMk cId="3832963388" sldId="588"/>
            <ac:spMk id="28"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10:32.517" v="251" actId="20577"/>
        <pc:sldMkLst>
          <pc:docMk/>
          <pc:sldMk cId="435998680" sldId="589"/>
        </pc:sldMkLst>
        <pc:spChg chg="mod">
          <ac:chgData name="Caldarelli, Leslie" userId="S::lcaldarelli_luriechildrens.org#ext#@nuwildcat.onmicrosoft.com::cd79b54d-c14e-4199-a04a-39c6f592e710" providerId="AD" clId="Web-{3A3E4FEE-6F9B-7EC3-B167-3C31BBE96824}" dt="2023-10-31T16:10:32.517" v="251" actId="20577"/>
          <ac:spMkLst>
            <pc:docMk/>
            <pc:sldMk cId="435998680" sldId="589"/>
            <ac:spMk id="13" creationId="{00000000-0000-0000-0000-000000000000}"/>
          </ac:spMkLst>
        </pc:spChg>
        <pc:spChg chg="mod">
          <ac:chgData name="Caldarelli, Leslie" userId="S::lcaldarelli_luriechildrens.org#ext#@nuwildcat.onmicrosoft.com::cd79b54d-c14e-4199-a04a-39c6f592e710" providerId="AD" clId="Web-{3A3E4FEE-6F9B-7EC3-B167-3C31BBE96824}" dt="2023-10-31T16:09:46.297" v="250" actId="20577"/>
          <ac:spMkLst>
            <pc:docMk/>
            <pc:sldMk cId="435998680" sldId="589"/>
            <ac:spMk id="14"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7:59.183" v="247" actId="14100"/>
        <pc:sldMkLst>
          <pc:docMk/>
          <pc:sldMk cId="595546358" sldId="590"/>
        </pc:sldMkLst>
        <pc:spChg chg="mod">
          <ac:chgData name="Caldarelli, Leslie" userId="S::lcaldarelli_luriechildrens.org#ext#@nuwildcat.onmicrosoft.com::cd79b54d-c14e-4199-a04a-39c6f592e710" providerId="AD" clId="Web-{3A3E4FEE-6F9B-7EC3-B167-3C31BBE96824}" dt="2023-10-31T16:07:59.183" v="247" actId="14100"/>
          <ac:spMkLst>
            <pc:docMk/>
            <pc:sldMk cId="595546358" sldId="590"/>
            <ac:spMk id="26" creationId="{00000000-0000-0000-0000-000000000000}"/>
          </ac:spMkLst>
        </pc:spChg>
        <pc:grpChg chg="mod">
          <ac:chgData name="Caldarelli, Leslie" userId="S::lcaldarelli_luriechildrens.org#ext#@nuwildcat.onmicrosoft.com::cd79b54d-c14e-4199-a04a-39c6f592e710" providerId="AD" clId="Web-{3A3E4FEE-6F9B-7EC3-B167-3C31BBE96824}" dt="2023-10-31T16:07:50.371" v="246" actId="1076"/>
          <ac:grpSpMkLst>
            <pc:docMk/>
            <pc:sldMk cId="595546358" sldId="590"/>
            <ac:grpSpMk id="11"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01:40.623" v="217" actId="14100"/>
        <pc:sldMkLst>
          <pc:docMk/>
          <pc:sldMk cId="629433230" sldId="591"/>
        </pc:sldMkLst>
        <pc:spChg chg="mod">
          <ac:chgData name="Caldarelli, Leslie" userId="S::lcaldarelli_luriechildrens.org#ext#@nuwildcat.onmicrosoft.com::cd79b54d-c14e-4199-a04a-39c6f592e710" providerId="AD" clId="Web-{3A3E4FEE-6F9B-7EC3-B167-3C31BBE96824}" dt="2023-10-31T16:01:40.623" v="217" actId="14100"/>
          <ac:spMkLst>
            <pc:docMk/>
            <pc:sldMk cId="629433230" sldId="591"/>
            <ac:spMk id="20" creationId="{00000000-0000-0000-0000-000000000000}"/>
          </ac:spMkLst>
        </pc:spChg>
      </pc:sldChg>
      <pc:sldChg chg="modSp">
        <pc:chgData name="Caldarelli, Leslie" userId="S::lcaldarelli_luriechildrens.org#ext#@nuwildcat.onmicrosoft.com::cd79b54d-c14e-4199-a04a-39c6f592e710" providerId="AD" clId="Web-{3A3E4FEE-6F9B-7EC3-B167-3C31BBE96824}" dt="2023-10-31T16:04:35.082" v="230" actId="20577"/>
        <pc:sldMkLst>
          <pc:docMk/>
          <pc:sldMk cId="1210022179" sldId="617"/>
        </pc:sldMkLst>
        <pc:spChg chg="mod">
          <ac:chgData name="Caldarelli, Leslie" userId="S::lcaldarelli_luriechildrens.org#ext#@nuwildcat.onmicrosoft.com::cd79b54d-c14e-4199-a04a-39c6f592e710" providerId="AD" clId="Web-{3A3E4FEE-6F9B-7EC3-B167-3C31BBE96824}" dt="2023-10-31T16:04:35.082" v="230" actId="20577"/>
          <ac:spMkLst>
            <pc:docMk/>
            <pc:sldMk cId="1210022179" sldId="617"/>
            <ac:spMk id="42" creationId="{E9E3C6CF-96AA-68D8-0977-EC06066DAB15}"/>
          </ac:spMkLst>
        </pc:spChg>
      </pc:sldChg>
      <pc:sldChg chg="modNotes">
        <pc:chgData name="Caldarelli, Leslie" userId="S::lcaldarelli_luriechildrens.org#ext#@nuwildcat.onmicrosoft.com::cd79b54d-c14e-4199-a04a-39c6f592e710" providerId="AD" clId="Web-{3A3E4FEE-6F9B-7EC3-B167-3C31BBE96824}" dt="2023-10-31T15:54:09.997" v="209"/>
        <pc:sldMkLst>
          <pc:docMk/>
          <pc:sldMk cId="3850125703" sldId="622"/>
        </pc:sldMkLst>
      </pc:sldChg>
      <pc:sldChg chg="modSp">
        <pc:chgData name="Caldarelli, Leslie" userId="S::lcaldarelli_luriechildrens.org#ext#@nuwildcat.onmicrosoft.com::cd79b54d-c14e-4199-a04a-39c6f592e710" providerId="AD" clId="Web-{3A3E4FEE-6F9B-7EC3-B167-3C31BBE96824}" dt="2023-10-31T16:04:40.692" v="231" actId="20577"/>
        <pc:sldMkLst>
          <pc:docMk/>
          <pc:sldMk cId="2561278274" sldId="630"/>
        </pc:sldMkLst>
        <pc:spChg chg="mod">
          <ac:chgData name="Caldarelli, Leslie" userId="S::lcaldarelli_luriechildrens.org#ext#@nuwildcat.onmicrosoft.com::cd79b54d-c14e-4199-a04a-39c6f592e710" providerId="AD" clId="Web-{3A3E4FEE-6F9B-7EC3-B167-3C31BBE96824}" dt="2023-10-31T16:04:40.692" v="231" actId="20577"/>
          <ac:spMkLst>
            <pc:docMk/>
            <pc:sldMk cId="2561278274" sldId="630"/>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04:46.880" v="233" actId="20577"/>
        <pc:sldMkLst>
          <pc:docMk/>
          <pc:sldMk cId="488873692" sldId="631"/>
        </pc:sldMkLst>
        <pc:spChg chg="mod">
          <ac:chgData name="Caldarelli, Leslie" userId="S::lcaldarelli_luriechildrens.org#ext#@nuwildcat.onmicrosoft.com::cd79b54d-c14e-4199-a04a-39c6f592e710" providerId="AD" clId="Web-{3A3E4FEE-6F9B-7EC3-B167-3C31BBE96824}" dt="2023-10-31T16:04:46.880" v="233" actId="20577"/>
          <ac:spMkLst>
            <pc:docMk/>
            <pc:sldMk cId="488873692" sldId="631"/>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15:37.372" v="277" actId="20577"/>
        <pc:sldMkLst>
          <pc:docMk/>
          <pc:sldMk cId="3115055849" sldId="632"/>
        </pc:sldMkLst>
        <pc:spChg chg="mod">
          <ac:chgData name="Caldarelli, Leslie" userId="S::lcaldarelli_luriechildrens.org#ext#@nuwildcat.onmicrosoft.com::cd79b54d-c14e-4199-a04a-39c6f592e710" providerId="AD" clId="Web-{3A3E4FEE-6F9B-7EC3-B167-3C31BBE96824}" dt="2023-10-31T16:15:37.372" v="277" actId="20577"/>
          <ac:spMkLst>
            <pc:docMk/>
            <pc:sldMk cId="3115055849" sldId="632"/>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6:22:31.574" v="374" actId="20577"/>
        <pc:sldMkLst>
          <pc:docMk/>
          <pc:sldMk cId="3999708931" sldId="633"/>
        </pc:sldMkLst>
        <pc:spChg chg="mod">
          <ac:chgData name="Caldarelli, Leslie" userId="S::lcaldarelli_luriechildrens.org#ext#@nuwildcat.onmicrosoft.com::cd79b54d-c14e-4199-a04a-39c6f592e710" providerId="AD" clId="Web-{3A3E4FEE-6F9B-7EC3-B167-3C31BBE96824}" dt="2023-10-31T16:22:31.574" v="374" actId="20577"/>
          <ac:spMkLst>
            <pc:docMk/>
            <pc:sldMk cId="3999708931" sldId="633"/>
            <ac:spMk id="42" creationId="{E9E3C6CF-96AA-68D8-0977-EC06066DAB15}"/>
          </ac:spMkLst>
        </pc:spChg>
      </pc:sldChg>
      <pc:sldChg chg="modSp">
        <pc:chgData name="Caldarelli, Leslie" userId="S::lcaldarelli_luriechildrens.org#ext#@nuwildcat.onmicrosoft.com::cd79b54d-c14e-4199-a04a-39c6f592e710" providerId="AD" clId="Web-{3A3E4FEE-6F9B-7EC3-B167-3C31BBE96824}" dt="2023-10-31T15:33:52.641" v="54" actId="20577"/>
        <pc:sldMkLst>
          <pc:docMk/>
          <pc:sldMk cId="1271905251" sldId="637"/>
        </pc:sldMkLst>
        <pc:spChg chg="mod">
          <ac:chgData name="Caldarelli, Leslie" userId="S::lcaldarelli_luriechildrens.org#ext#@nuwildcat.onmicrosoft.com::cd79b54d-c14e-4199-a04a-39c6f592e710" providerId="AD" clId="Web-{3A3E4FEE-6F9B-7EC3-B167-3C31BBE96824}" dt="2023-10-31T15:33:52.641" v="54" actId="20577"/>
          <ac:spMkLst>
            <pc:docMk/>
            <pc:sldMk cId="1271905251" sldId="637"/>
            <ac:spMk id="3" creationId="{38BD8A99-C590-643F-CF50-2EEC68347C9C}"/>
          </ac:spMkLst>
        </pc:spChg>
      </pc:sldChg>
      <pc:sldChg chg="addSp delSp modSp mod setBg addAnim setClrOvrMap modNotes">
        <pc:chgData name="Caldarelli, Leslie" userId="S::lcaldarelli_luriechildrens.org#ext#@nuwildcat.onmicrosoft.com::cd79b54d-c14e-4199-a04a-39c6f592e710" providerId="AD" clId="Web-{3A3E4FEE-6F9B-7EC3-B167-3C31BBE96824}" dt="2023-10-31T16:46:24.002" v="562"/>
        <pc:sldMkLst>
          <pc:docMk/>
          <pc:sldMk cId="3557549611" sldId="639"/>
        </pc:sldMkLst>
        <pc:spChg chg="mod">
          <ac:chgData name="Caldarelli, Leslie" userId="S::lcaldarelli_luriechildrens.org#ext#@nuwildcat.onmicrosoft.com::cd79b54d-c14e-4199-a04a-39c6f592e710" providerId="AD" clId="Web-{3A3E4FEE-6F9B-7EC3-B167-3C31BBE96824}" dt="2023-10-31T16:45:57.547" v="552" actId="20577"/>
          <ac:spMkLst>
            <pc:docMk/>
            <pc:sldMk cId="3557549611" sldId="639"/>
            <ac:spMk id="2" creationId="{0BE17DCB-A8F8-6312-7CC0-B9B84CE03C29}"/>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4" creationId="{06276F4D-91A4-D091-2EFE-9A1748660AE2}"/>
          </ac:spMkLst>
        </pc:spChg>
        <pc:spChg chg="mod">
          <ac:chgData name="Caldarelli, Leslie" userId="S::lcaldarelli_luriechildrens.org#ext#@nuwildcat.onmicrosoft.com::cd79b54d-c14e-4199-a04a-39c6f592e710" providerId="AD" clId="Web-{3A3E4FEE-6F9B-7EC3-B167-3C31BBE96824}" dt="2023-10-31T16:45:23.561" v="547"/>
          <ac:spMkLst>
            <pc:docMk/>
            <pc:sldMk cId="3557549611" sldId="639"/>
            <ac:spMk id="5" creationId="{475B4B8E-2C04-6E84-AEFA-610CF3D9D135}"/>
          </ac:spMkLst>
        </pc:spChg>
        <pc:spChg chg="del">
          <ac:chgData name="Caldarelli, Leslie" userId="S::lcaldarelli_luriechildrens.org#ext#@nuwildcat.onmicrosoft.com::cd79b54d-c14e-4199-a04a-39c6f592e710" providerId="AD" clId="Web-{3A3E4FEE-6F9B-7EC3-B167-3C31BBE96824}" dt="2023-10-31T16:44:54.342" v="540"/>
          <ac:spMkLst>
            <pc:docMk/>
            <pc:sldMk cId="3557549611" sldId="639"/>
            <ac:spMk id="11" creationId="{71B2258F-86CA-4D4D-8270-BC05FCDEBFB3}"/>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6" creationId="{27BDFED6-6E33-4606-AFE2-886ADB1C018E}"/>
          </ac:spMkLst>
        </pc:spChg>
        <pc:spChg chg="add del">
          <ac:chgData name="Caldarelli, Leslie" userId="S::lcaldarelli_luriechildrens.org#ext#@nuwildcat.onmicrosoft.com::cd79b54d-c14e-4199-a04a-39c6f592e710" providerId="AD" clId="Web-{3A3E4FEE-6F9B-7EC3-B167-3C31BBE96824}" dt="2023-10-31T16:45:23.561" v="547"/>
          <ac:spMkLst>
            <pc:docMk/>
            <pc:sldMk cId="3557549611" sldId="639"/>
            <ac:spMk id="18" creationId="{890DEF05-784E-4B61-89E4-04C4ECF4E5A0}"/>
          </ac:spMkLst>
        </pc:spChg>
        <pc:spChg chg="add del">
          <ac:chgData name="Caldarelli, Leslie" userId="S::lcaldarelli_luriechildrens.org#ext#@nuwildcat.onmicrosoft.com::cd79b54d-c14e-4199-a04a-39c6f592e710" providerId="AD" clId="Web-{3A3E4FEE-6F9B-7EC3-B167-3C31BBE96824}" dt="2023-10-31T16:45:07.967" v="544"/>
          <ac:spMkLst>
            <pc:docMk/>
            <pc:sldMk cId="3557549611" sldId="639"/>
            <ac:spMk id="25" creationId="{37C89E4B-3C9F-44B9-8B86-D9E3D112D8EC}"/>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1" creationId="{08C9B587-E65E-4B52-B37C-ABEBB6E87928}"/>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2" creationId="{0671A8AE-40A1-4631-A6B8-581AFF065482}"/>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3" creationId="{AB58EF07-17C2-48CF-ABB0-EEF1F17CB8F0}"/>
          </ac:spMkLst>
        </pc:spChg>
        <pc:spChg chg="add del">
          <ac:chgData name="Caldarelli, Leslie" userId="S::lcaldarelli_luriechildrens.org#ext#@nuwildcat.onmicrosoft.com::cd79b54d-c14e-4199-a04a-39c6f592e710" providerId="AD" clId="Web-{3A3E4FEE-6F9B-7EC3-B167-3C31BBE96824}" dt="2023-10-31T16:45:23.499" v="546"/>
          <ac:spMkLst>
            <pc:docMk/>
            <pc:sldMk cId="3557549611" sldId="639"/>
            <ac:spMk id="34" creationId="{AF2F604E-43BE-4DC3-B983-E071523364F8}"/>
          </ac:spMkLst>
        </pc:spChg>
        <pc:spChg chg="add">
          <ac:chgData name="Caldarelli, Leslie" userId="S::lcaldarelli_luriechildrens.org#ext#@nuwildcat.onmicrosoft.com::cd79b54d-c14e-4199-a04a-39c6f592e710" providerId="AD" clId="Web-{3A3E4FEE-6F9B-7EC3-B167-3C31BBE96824}" dt="2023-10-31T16:45:23.561" v="547"/>
          <ac:spMkLst>
            <pc:docMk/>
            <pc:sldMk cId="3557549611" sldId="639"/>
            <ac:spMk id="36" creationId="{71B2258F-86CA-4D4D-8270-BC05FCDEBFB3}"/>
          </ac:spMkLst>
        </pc:spChg>
        <pc:picChg chg="add mod ord">
          <ac:chgData name="Caldarelli, Leslie" userId="S::lcaldarelli_luriechildrens.org#ext#@nuwildcat.onmicrosoft.com::cd79b54d-c14e-4199-a04a-39c6f592e710" providerId="AD" clId="Web-{3A3E4FEE-6F9B-7EC3-B167-3C31BBE96824}" dt="2023-10-31T16:45:23.561" v="547"/>
          <ac:picMkLst>
            <pc:docMk/>
            <pc:sldMk cId="3557549611" sldId="639"/>
            <ac:picMk id="3" creationId="{DAFBE606-7FC7-49C4-35AD-E7F8C66460CB}"/>
          </ac:picMkLst>
        </pc:picChg>
        <pc:picChg chg="del mod">
          <ac:chgData name="Caldarelli, Leslie" userId="S::lcaldarelli_luriechildrens.org#ext#@nuwildcat.onmicrosoft.com::cd79b54d-c14e-4199-a04a-39c6f592e710" providerId="AD" clId="Web-{3A3E4FEE-6F9B-7EC3-B167-3C31BBE96824}" dt="2023-10-31T16:44:58.154" v="542"/>
          <ac:picMkLst>
            <pc:docMk/>
            <pc:sldMk cId="3557549611" sldId="639"/>
            <ac:picMk id="7" creationId="{6B05B810-C788-B059-81CD-37A75C30A63A}"/>
          </ac:picMkLst>
        </pc:picChg>
        <pc:cxnChg chg="add del">
          <ac:chgData name="Caldarelli, Leslie" userId="S::lcaldarelli_luriechildrens.org#ext#@nuwildcat.onmicrosoft.com::cd79b54d-c14e-4199-a04a-39c6f592e710" providerId="AD" clId="Web-{3A3E4FEE-6F9B-7EC3-B167-3C31BBE96824}" dt="2023-10-31T16:45:23.561" v="547"/>
          <ac:cxnSpMkLst>
            <pc:docMk/>
            <pc:sldMk cId="3557549611" sldId="639"/>
            <ac:cxnSpMk id="20" creationId="{C41BAEC7-F7B0-4224-8B18-8F74B7D87F0B}"/>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7" creationId="{AA2EAA10-076F-46BD-8F0F-B9A2FB77A85C}"/>
          </ac:cxnSpMkLst>
        </pc:cxnChg>
        <pc:cxnChg chg="add del">
          <ac:chgData name="Caldarelli, Leslie" userId="S::lcaldarelli_luriechildrens.org#ext#@nuwildcat.onmicrosoft.com::cd79b54d-c14e-4199-a04a-39c6f592e710" providerId="AD" clId="Web-{3A3E4FEE-6F9B-7EC3-B167-3C31BBE96824}" dt="2023-10-31T16:45:07.967" v="544"/>
          <ac:cxnSpMkLst>
            <pc:docMk/>
            <pc:sldMk cId="3557549611" sldId="639"/>
            <ac:cxnSpMk id="29" creationId="{D891E407-403B-4764-86C9-33A56D3BCAA3}"/>
          </ac:cxnSpMkLst>
        </pc:cxnChg>
      </pc:sldChg>
      <pc:sldChg chg="addSp modSp modNotes">
        <pc:chgData name="Caldarelli, Leslie" userId="S::lcaldarelli_luriechildrens.org#ext#@nuwildcat.onmicrosoft.com::cd79b54d-c14e-4199-a04a-39c6f592e710" providerId="AD" clId="Web-{3A3E4FEE-6F9B-7EC3-B167-3C31BBE96824}" dt="2023-10-31T15:52:03.118" v="208"/>
        <pc:sldMkLst>
          <pc:docMk/>
          <pc:sldMk cId="113281680" sldId="642"/>
        </pc:sldMkLst>
        <pc:spChg chg="mod">
          <ac:chgData name="Caldarelli, Leslie" userId="S::lcaldarelli_luriechildrens.org#ext#@nuwildcat.onmicrosoft.com::cd79b54d-c14e-4199-a04a-39c6f592e710" providerId="AD" clId="Web-{3A3E4FEE-6F9B-7EC3-B167-3C31BBE96824}" dt="2023-10-31T15:50:18.864" v="194" actId="1076"/>
          <ac:spMkLst>
            <pc:docMk/>
            <pc:sldMk cId="113281680" sldId="642"/>
            <ac:spMk id="2" creationId="{F4AFEDD1-1B2F-10C8-9EFB-EFBD0CAB6989}"/>
          </ac:spMkLst>
        </pc:spChg>
        <pc:spChg chg="mod">
          <ac:chgData name="Caldarelli, Leslie" userId="S::lcaldarelli_luriechildrens.org#ext#@nuwildcat.onmicrosoft.com::cd79b54d-c14e-4199-a04a-39c6f592e710" providerId="AD" clId="Web-{3A3E4FEE-6F9B-7EC3-B167-3C31BBE96824}" dt="2023-10-31T15:51:17.319" v="207" actId="20577"/>
          <ac:spMkLst>
            <pc:docMk/>
            <pc:sldMk cId="113281680" sldId="642"/>
            <ac:spMk id="3" creationId="{9038DB7D-70BC-F3BC-5E8D-8CFC7F509BED}"/>
          </ac:spMkLst>
        </pc:spChg>
        <pc:spChg chg="add mod">
          <ac:chgData name="Caldarelli, Leslie" userId="S::lcaldarelli_luriechildrens.org#ext#@nuwildcat.onmicrosoft.com::cd79b54d-c14e-4199-a04a-39c6f592e710" providerId="AD" clId="Web-{3A3E4FEE-6F9B-7EC3-B167-3C31BBE96824}" dt="2023-10-31T15:50:04.085" v="191" actId="1076"/>
          <ac:spMkLst>
            <pc:docMk/>
            <pc:sldMk cId="113281680" sldId="642"/>
            <ac:spMk id="6" creationId="{EB7BD3D8-0E72-993A-2F4C-9CE922B7CC0B}"/>
          </ac:spMkLst>
        </pc:spChg>
        <pc:spChg chg="add mod">
          <ac:chgData name="Caldarelli, Leslie" userId="S::lcaldarelli_luriechildrens.org#ext#@nuwildcat.onmicrosoft.com::cd79b54d-c14e-4199-a04a-39c6f592e710" providerId="AD" clId="Web-{3A3E4FEE-6F9B-7EC3-B167-3C31BBE96824}" dt="2023-10-31T15:50:08.410" v="192" actId="1076"/>
          <ac:spMkLst>
            <pc:docMk/>
            <pc:sldMk cId="113281680" sldId="642"/>
            <ac:spMk id="8" creationId="{9CAE83B1-576A-4BD3-4D30-DC90CF84A4CA}"/>
          </ac:spMkLst>
        </pc:spChg>
      </pc:sldChg>
      <pc:sldChg chg="modSp">
        <pc:chgData name="Caldarelli, Leslie" userId="S::lcaldarelli_luriechildrens.org#ext#@nuwildcat.onmicrosoft.com::cd79b54d-c14e-4199-a04a-39c6f592e710" providerId="AD" clId="Web-{3A3E4FEE-6F9B-7EC3-B167-3C31BBE96824}" dt="2023-10-31T16:37:26.732" v="495" actId="1076"/>
        <pc:sldMkLst>
          <pc:docMk/>
          <pc:sldMk cId="2443892533" sldId="643"/>
        </pc:sldMkLst>
        <pc:spChg chg="mod">
          <ac:chgData name="Caldarelli, Leslie" userId="S::lcaldarelli_luriechildrens.org#ext#@nuwildcat.onmicrosoft.com::cd79b54d-c14e-4199-a04a-39c6f592e710" providerId="AD" clId="Web-{3A3E4FEE-6F9B-7EC3-B167-3C31BBE96824}" dt="2023-10-31T16:37:07.794" v="491" actId="20577"/>
          <ac:spMkLst>
            <pc:docMk/>
            <pc:sldMk cId="2443892533" sldId="643"/>
            <ac:spMk id="2" creationId="{85302686-DF06-3304-66CB-1E21F4D086DC}"/>
          </ac:spMkLst>
        </pc:spChg>
        <pc:spChg chg="mod">
          <ac:chgData name="Caldarelli, Leslie" userId="S::lcaldarelli_luriechildrens.org#ext#@nuwildcat.onmicrosoft.com::cd79b54d-c14e-4199-a04a-39c6f592e710" providerId="AD" clId="Web-{3A3E4FEE-6F9B-7EC3-B167-3C31BBE96824}" dt="2023-10-31T16:37:24.153" v="494" actId="20577"/>
          <ac:spMkLst>
            <pc:docMk/>
            <pc:sldMk cId="2443892533" sldId="643"/>
            <ac:spMk id="3" creationId="{E7ECD19B-85BC-6652-2856-676802964CFA}"/>
          </ac:spMkLst>
        </pc:spChg>
        <pc:picChg chg="mod">
          <ac:chgData name="Caldarelli, Leslie" userId="S::lcaldarelli_luriechildrens.org#ext#@nuwildcat.onmicrosoft.com::cd79b54d-c14e-4199-a04a-39c6f592e710" providerId="AD" clId="Web-{3A3E4FEE-6F9B-7EC3-B167-3C31BBE96824}" dt="2023-10-31T16:37:26.732" v="495" actId="1076"/>
          <ac:picMkLst>
            <pc:docMk/>
            <pc:sldMk cId="2443892533" sldId="643"/>
            <ac:picMk id="7" creationId="{8561AC10-C045-61C5-C572-29E58C8EEF9B}"/>
          </ac:picMkLst>
        </pc:picChg>
      </pc:sldChg>
      <pc:sldChg chg="modSp modNotes">
        <pc:chgData name="Caldarelli, Leslie" userId="S::lcaldarelli_luriechildrens.org#ext#@nuwildcat.onmicrosoft.com::cd79b54d-c14e-4199-a04a-39c6f592e710" providerId="AD" clId="Web-{3A3E4FEE-6F9B-7EC3-B167-3C31BBE96824}" dt="2023-10-31T16:42:54.264" v="528" actId="20577"/>
        <pc:sldMkLst>
          <pc:docMk/>
          <pc:sldMk cId="226321953" sldId="646"/>
        </pc:sldMkLst>
        <pc:spChg chg="mod">
          <ac:chgData name="Caldarelli, Leslie" userId="S::lcaldarelli_luriechildrens.org#ext#@nuwildcat.onmicrosoft.com::cd79b54d-c14e-4199-a04a-39c6f592e710" providerId="AD" clId="Web-{3A3E4FEE-6F9B-7EC3-B167-3C31BBE96824}" dt="2023-10-31T16:42:54.264" v="528" actId="20577"/>
          <ac:spMkLst>
            <pc:docMk/>
            <pc:sldMk cId="226321953" sldId="646"/>
            <ac:spMk id="2" creationId="{966FAC69-62AA-D40E-C4BD-DAD5BF599C69}"/>
          </ac:spMkLst>
        </pc:spChg>
      </pc:sldChg>
      <pc:sldChg chg="modSp modNotes">
        <pc:chgData name="Caldarelli, Leslie" userId="S::lcaldarelli_luriechildrens.org#ext#@nuwildcat.onmicrosoft.com::cd79b54d-c14e-4199-a04a-39c6f592e710" providerId="AD" clId="Web-{3A3E4FEE-6F9B-7EC3-B167-3C31BBE96824}" dt="2023-10-31T16:41:12.349" v="526"/>
        <pc:sldMkLst>
          <pc:docMk/>
          <pc:sldMk cId="1661337475" sldId="647"/>
        </pc:sldMkLst>
        <pc:spChg chg="mod">
          <ac:chgData name="Caldarelli, Leslie" userId="S::lcaldarelli_luriechildrens.org#ext#@nuwildcat.onmicrosoft.com::cd79b54d-c14e-4199-a04a-39c6f592e710" providerId="AD" clId="Web-{3A3E4FEE-6F9B-7EC3-B167-3C31BBE96824}" dt="2023-10-31T16:39:46.581" v="502" actId="1076"/>
          <ac:spMkLst>
            <pc:docMk/>
            <pc:sldMk cId="1661337475" sldId="647"/>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36.252" v="500" actId="1076"/>
          <ac:spMkLst>
            <pc:docMk/>
            <pc:sldMk cId="1661337475" sldId="647"/>
            <ac:spMk id="50" creationId="{00000000-0000-0000-0000-000000000000}"/>
          </ac:spMkLst>
        </pc:spChg>
        <pc:spChg chg="mod">
          <ac:chgData name="Caldarelli, Leslie" userId="S::lcaldarelli_luriechildrens.org#ext#@nuwildcat.onmicrosoft.com::cd79b54d-c14e-4199-a04a-39c6f592e710" providerId="AD" clId="Web-{3A3E4FEE-6F9B-7EC3-B167-3C31BBE96824}" dt="2023-10-31T16:39:31.674" v="499" actId="1076"/>
          <ac:spMkLst>
            <pc:docMk/>
            <pc:sldMk cId="1661337475" sldId="647"/>
            <ac:spMk id="53" creationId="{00000000-0000-0000-0000-000000000000}"/>
          </ac:spMkLst>
        </pc:spChg>
        <pc:grpChg chg="mod">
          <ac:chgData name="Caldarelli, Leslie" userId="S::lcaldarelli_luriechildrens.org#ext#@nuwildcat.onmicrosoft.com::cd79b54d-c14e-4199-a04a-39c6f592e710" providerId="AD" clId="Web-{3A3E4FEE-6F9B-7EC3-B167-3C31BBE96824}" dt="2023-10-31T16:39:41.799" v="501" actId="1076"/>
          <ac:grpSpMkLst>
            <pc:docMk/>
            <pc:sldMk cId="1661337475" sldId="647"/>
            <ac:grpSpMk id="44" creationId="{00000000-0000-0000-0000-000000000000}"/>
          </ac:grpSpMkLst>
        </pc:grpChg>
      </pc:sldChg>
      <pc:sldChg chg="modSp">
        <pc:chgData name="Caldarelli, Leslie" userId="S::lcaldarelli_luriechildrens.org#ext#@nuwildcat.onmicrosoft.com::cd79b54d-c14e-4199-a04a-39c6f592e710" providerId="AD" clId="Web-{3A3E4FEE-6F9B-7EC3-B167-3C31BBE96824}" dt="2023-10-31T16:39:52.753" v="503" actId="1076"/>
        <pc:sldMkLst>
          <pc:docMk/>
          <pc:sldMk cId="641611787" sldId="648"/>
        </pc:sldMkLst>
        <pc:spChg chg="mod">
          <ac:chgData name="Caldarelli, Leslie" userId="S::lcaldarelli_luriechildrens.org#ext#@nuwildcat.onmicrosoft.com::cd79b54d-c14e-4199-a04a-39c6f592e710" providerId="AD" clId="Web-{3A3E4FEE-6F9B-7EC3-B167-3C31BBE96824}" dt="2023-10-31T16:39:52.753" v="503" actId="1076"/>
          <ac:spMkLst>
            <pc:docMk/>
            <pc:sldMk cId="641611787" sldId="648"/>
            <ac:spMk id="14" creationId="{00000000-0000-0000-0000-000000000000}"/>
          </ac:spMkLst>
        </pc:spChg>
        <pc:spChg chg="mod">
          <ac:chgData name="Caldarelli, Leslie" userId="S::lcaldarelli_luriechildrens.org#ext#@nuwildcat.onmicrosoft.com::cd79b54d-c14e-4199-a04a-39c6f592e710" providerId="AD" clId="Web-{3A3E4FEE-6F9B-7EC3-B167-3C31BBE96824}" dt="2023-10-31T16:39:19.611" v="497" actId="1076"/>
          <ac:spMkLst>
            <pc:docMk/>
            <pc:sldMk cId="641611787" sldId="648"/>
            <ac:spMk id="53" creationId="{00000000-0000-0000-0000-000000000000}"/>
          </ac:spMkLst>
        </pc:spChg>
      </pc:sldChg>
    </pc:docChg>
  </pc:docChgLst>
  <pc:docChgLst>
    <pc:chgData name="Eileen Fleming Suse" userId="S::efs3844@ads.northwestern.edu::725c94ef-d051-42d7-9d33-8572765d592b" providerId="AD" clId="Web-{2D3E1CBF-0F08-92B9-6543-9FE5E77E56E9}"/>
    <pc:docChg chg="addSld delSld modSld">
      <pc:chgData name="Eileen Fleming Suse" userId="S::efs3844@ads.northwestern.edu::725c94ef-d051-42d7-9d33-8572765d592b" providerId="AD" clId="Web-{2D3E1CBF-0F08-92B9-6543-9FE5E77E56E9}" dt="2023-10-28T14:57:28.029" v="305"/>
      <pc:docMkLst>
        <pc:docMk/>
      </pc:docMkLst>
      <pc:sldChg chg="modSp">
        <pc:chgData name="Eileen Fleming Suse" userId="S::efs3844@ads.northwestern.edu::725c94ef-d051-42d7-9d33-8572765d592b" providerId="AD" clId="Web-{2D3E1CBF-0F08-92B9-6543-9FE5E77E56E9}" dt="2023-10-28T14:54:32.961" v="268" actId="20577"/>
        <pc:sldMkLst>
          <pc:docMk/>
          <pc:sldMk cId="2086939794" sldId="326"/>
        </pc:sldMkLst>
        <pc:spChg chg="mod">
          <ac:chgData name="Eileen Fleming Suse" userId="S::efs3844@ads.northwestern.edu::725c94ef-d051-42d7-9d33-8572765d592b" providerId="AD" clId="Web-{2D3E1CBF-0F08-92B9-6543-9FE5E77E56E9}" dt="2023-10-28T14:54:32.961" v="268" actId="20577"/>
          <ac:spMkLst>
            <pc:docMk/>
            <pc:sldMk cId="2086939794" sldId="326"/>
            <ac:spMk id="3" creationId="{1E0FB995-5DD8-5081-A69E-96B5869B0012}"/>
          </ac:spMkLst>
        </pc:spChg>
      </pc:sldChg>
      <pc:sldChg chg="modSp">
        <pc:chgData name="Eileen Fleming Suse" userId="S::efs3844@ads.northwestern.edu::725c94ef-d051-42d7-9d33-8572765d592b" providerId="AD" clId="Web-{2D3E1CBF-0F08-92B9-6543-9FE5E77E56E9}" dt="2023-10-28T14:57:28.029" v="305"/>
        <pc:sldMkLst>
          <pc:docMk/>
          <pc:sldMk cId="3067427377" sldId="560"/>
        </pc:sldMkLst>
        <pc:spChg chg="mod">
          <ac:chgData name="Eileen Fleming Suse" userId="S::efs3844@ads.northwestern.edu::725c94ef-d051-42d7-9d33-8572765d592b" providerId="AD" clId="Web-{2D3E1CBF-0F08-92B9-6543-9FE5E77E56E9}" dt="2023-10-28T14:57:28.029" v="305"/>
          <ac:spMkLst>
            <pc:docMk/>
            <pc:sldMk cId="3067427377" sldId="560"/>
            <ac:spMk id="2" creationId="{85302686-DF06-3304-66CB-1E21F4D086DC}"/>
          </ac:spMkLst>
        </pc:spChg>
      </pc:sldChg>
      <pc:sldChg chg="addSp modSp">
        <pc:chgData name="Eileen Fleming Suse" userId="S::efs3844@ads.northwestern.edu::725c94ef-d051-42d7-9d33-8572765d592b" providerId="AD" clId="Web-{2D3E1CBF-0F08-92B9-6543-9FE5E77E56E9}" dt="2023-10-28T14:57:16.622" v="304" actId="1076"/>
        <pc:sldMkLst>
          <pc:docMk/>
          <pc:sldMk cId="1141815353" sldId="562"/>
        </pc:sldMkLst>
        <pc:spChg chg="add mod">
          <ac:chgData name="Eileen Fleming Suse" userId="S::efs3844@ads.northwestern.edu::725c94ef-d051-42d7-9d33-8572765d592b" providerId="AD" clId="Web-{2D3E1CBF-0F08-92B9-6543-9FE5E77E56E9}" dt="2023-10-28T14:57:16.622" v="304" actId="1076"/>
          <ac:spMkLst>
            <pc:docMk/>
            <pc:sldMk cId="1141815353" sldId="562"/>
            <ac:spMk id="13" creationId="{2FC08365-C48A-7DB8-BBA6-D9EB552FFD55}"/>
          </ac:spMkLst>
        </pc:spChg>
        <pc:spChg chg="mod">
          <ac:chgData name="Eileen Fleming Suse" userId="S::efs3844@ads.northwestern.edu::725c94ef-d051-42d7-9d33-8572765d592b" providerId="AD" clId="Web-{2D3E1CBF-0F08-92B9-6543-9FE5E77E56E9}" dt="2023-10-28T14:57:12.528" v="302" actId="1076"/>
          <ac:spMkLst>
            <pc:docMk/>
            <pc:sldMk cId="1141815353" sldId="562"/>
            <ac:spMk id="360" creationId="{FE59A3A2-BFF2-9772-51D6-9CCB620AEB53}"/>
          </ac:spMkLst>
        </pc:spChg>
      </pc:sldChg>
      <pc:sldChg chg="addSp modSp">
        <pc:chgData name="Eileen Fleming Suse" userId="S::efs3844@ads.northwestern.edu::725c94ef-d051-42d7-9d33-8572765d592b" providerId="AD" clId="Web-{2D3E1CBF-0F08-92B9-6543-9FE5E77E56E9}" dt="2023-10-28T00:19:08.918" v="72" actId="20577"/>
        <pc:sldMkLst>
          <pc:docMk/>
          <pc:sldMk cId="1937423064" sldId="606"/>
        </pc:sldMkLst>
        <pc:spChg chg="add mod">
          <ac:chgData name="Eileen Fleming Suse" userId="S::efs3844@ads.northwestern.edu::725c94ef-d051-42d7-9d33-8572765d592b" providerId="AD" clId="Web-{2D3E1CBF-0F08-92B9-6543-9FE5E77E56E9}" dt="2023-10-28T00:19:08.918" v="72" actId="20577"/>
          <ac:spMkLst>
            <pc:docMk/>
            <pc:sldMk cId="1937423064" sldId="606"/>
            <ac:spMk id="3" creationId="{CF76BAF3-0D68-BE52-7B63-AF42CBFD04CB}"/>
          </ac:spMkLst>
        </pc:spChg>
        <pc:spChg chg="mod">
          <ac:chgData name="Eileen Fleming Suse" userId="S::efs3844@ads.northwestern.edu::725c94ef-d051-42d7-9d33-8572765d592b" providerId="AD" clId="Web-{2D3E1CBF-0F08-92B9-6543-9FE5E77E56E9}" dt="2023-10-28T00:08:21.950" v="3" actId="20577"/>
          <ac:spMkLst>
            <pc:docMk/>
            <pc:sldMk cId="1937423064" sldId="606"/>
            <ac:spMk id="12" creationId="{78126F38-8B56-6129-962F-5469035C8159}"/>
          </ac:spMkLst>
        </pc:spChg>
      </pc:sldChg>
      <pc:sldChg chg="del">
        <pc:chgData name="Eileen Fleming Suse" userId="S::efs3844@ads.northwestern.edu::725c94ef-d051-42d7-9d33-8572765d592b" providerId="AD" clId="Web-{2D3E1CBF-0F08-92B9-6543-9FE5E77E56E9}" dt="2023-10-28T00:23:48.585" v="73"/>
        <pc:sldMkLst>
          <pc:docMk/>
          <pc:sldMk cId="2500564114" sldId="624"/>
        </pc:sldMkLst>
      </pc:sldChg>
      <pc:sldChg chg="addSp delSp modSp delCm">
        <pc:chgData name="Eileen Fleming Suse" userId="S::efs3844@ads.northwestern.edu::725c94ef-d051-42d7-9d33-8572765d592b" providerId="AD" clId="Web-{2D3E1CBF-0F08-92B9-6543-9FE5E77E56E9}" dt="2023-10-28T14:54:08.976" v="263"/>
        <pc:sldMkLst>
          <pc:docMk/>
          <pc:sldMk cId="53107998" sldId="627"/>
        </pc:sldMkLst>
        <pc:spChg chg="del">
          <ac:chgData name="Eileen Fleming Suse" userId="S::efs3844@ads.northwestern.edu::725c94ef-d051-42d7-9d33-8572765d592b" providerId="AD" clId="Web-{2D3E1CBF-0F08-92B9-6543-9FE5E77E56E9}" dt="2023-10-28T00:28:55.500" v="79"/>
          <ac:spMkLst>
            <pc:docMk/>
            <pc:sldMk cId="53107998" sldId="627"/>
            <ac:spMk id="6" creationId="{5061076E-BCAA-95BB-947C-06473AB43500}"/>
          </ac:spMkLst>
        </pc:spChg>
        <pc:spChg chg="add mod">
          <ac:chgData name="Eileen Fleming Suse" userId="S::efs3844@ads.northwestern.edu::725c94ef-d051-42d7-9d33-8572765d592b" providerId="AD" clId="Web-{2D3E1CBF-0F08-92B9-6543-9FE5E77E56E9}" dt="2023-10-28T14:19:11.939" v="117" actId="20577"/>
          <ac:spMkLst>
            <pc:docMk/>
            <pc:sldMk cId="53107998" sldId="627"/>
            <ac:spMk id="6" creationId="{6869C5A5-AA49-7E86-16CA-330531D2D3A5}"/>
          </ac:spMkLst>
        </pc:spChg>
        <pc:spChg chg="del">
          <ac:chgData name="Eileen Fleming Suse" userId="S::efs3844@ads.northwestern.edu::725c94ef-d051-42d7-9d33-8572765d592b" providerId="AD" clId="Web-{2D3E1CBF-0F08-92B9-6543-9FE5E77E56E9}" dt="2023-10-28T14:14:49.415" v="81"/>
          <ac:spMkLst>
            <pc:docMk/>
            <pc:sldMk cId="53107998" sldId="627"/>
            <ac:spMk id="11" creationId="{1001CA27-B312-ABF1-7B46-5CD64FE61847}"/>
          </ac:spMkLst>
        </pc:spChg>
        <pc:picChg chg="del">
          <ac:chgData name="Eileen Fleming Suse" userId="S::efs3844@ads.northwestern.edu::725c94ef-d051-42d7-9d33-8572765d592b" providerId="AD" clId="Web-{2D3E1CBF-0F08-92B9-6543-9FE5E77E56E9}" dt="2023-10-28T00:28:55.531" v="80"/>
          <ac:picMkLst>
            <pc:docMk/>
            <pc:sldMk cId="53107998" sldId="627"/>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08.976" v="263"/>
              <pc2:cmMkLst xmlns:pc2="http://schemas.microsoft.com/office/powerpoint/2019/9/main/command">
                <pc:docMk/>
                <pc:sldMk cId="53107998" sldId="627"/>
                <pc2:cmMk id="{C48A6C56-B343-467E-9FD1-86B163B01706}"/>
              </pc2:cmMkLst>
            </pc226:cmChg>
            <pc226:cmChg xmlns:pc226="http://schemas.microsoft.com/office/powerpoint/2022/06/main/command" chg="del">
              <pc226:chgData name="Eileen Fleming Suse" userId="S::efs3844@ads.northwestern.edu::725c94ef-d051-42d7-9d33-8572765d592b" providerId="AD" clId="Web-{2D3E1CBF-0F08-92B9-6543-9FE5E77E56E9}" dt="2023-10-28T14:53:58.913" v="262"/>
              <pc2:cmMkLst xmlns:pc2="http://schemas.microsoft.com/office/powerpoint/2019/9/main/command">
                <pc:docMk/>
                <pc:sldMk cId="53107998" sldId="627"/>
                <pc2:cmMk id="{46D04177-1E1A-4590-B3B8-03DE51A18B3C}"/>
              </pc2:cmMkLst>
            </pc226:cmChg>
          </p:ext>
        </pc:extLst>
      </pc:sldChg>
      <pc:sldChg chg="addSp delSp modSp delCm">
        <pc:chgData name="Eileen Fleming Suse" userId="S::efs3844@ads.northwestern.edu::725c94ef-d051-42d7-9d33-8572765d592b" providerId="AD" clId="Web-{2D3E1CBF-0F08-92B9-6543-9FE5E77E56E9}" dt="2023-10-28T14:53:48.928" v="261"/>
        <pc:sldMkLst>
          <pc:docMk/>
          <pc:sldMk cId="534784336" sldId="628"/>
        </pc:sldMkLst>
        <pc:spChg chg="mod">
          <ac:chgData name="Eileen Fleming Suse" userId="S::efs3844@ads.northwestern.edu::725c94ef-d051-42d7-9d33-8572765d592b" providerId="AD" clId="Web-{2D3E1CBF-0F08-92B9-6543-9FE5E77E56E9}" dt="2023-10-28T14:26:26.922" v="168" actId="14100"/>
          <ac:spMkLst>
            <pc:docMk/>
            <pc:sldMk cId="534784336" sldId="628"/>
            <ac:spMk id="2" creationId="{5B0924D0-76E0-769E-E658-F9192618FFD4}"/>
          </ac:spMkLst>
        </pc:spChg>
        <pc:spChg chg="del">
          <ac:chgData name="Eileen Fleming Suse" userId="S::efs3844@ads.northwestern.edu::725c94ef-d051-42d7-9d33-8572765d592b" providerId="AD" clId="Web-{2D3E1CBF-0F08-92B9-6543-9FE5E77E56E9}" dt="2023-10-28T14:30:04.491" v="169"/>
          <ac:spMkLst>
            <pc:docMk/>
            <pc:sldMk cId="534784336" sldId="628"/>
            <ac:spMk id="3" creationId="{F9B93FA2-9BD2-09DD-15C3-2A948A3663FF}"/>
          </ac:spMkLst>
        </pc:spChg>
        <pc:spChg chg="add mod">
          <ac:chgData name="Eileen Fleming Suse" userId="S::efs3844@ads.northwestern.edu::725c94ef-d051-42d7-9d33-8572765d592b" providerId="AD" clId="Web-{2D3E1CBF-0F08-92B9-6543-9FE5E77E56E9}" dt="2023-10-28T14:38:01.288" v="202" actId="1076"/>
          <ac:spMkLst>
            <pc:docMk/>
            <pc:sldMk cId="534784336" sldId="628"/>
            <ac:spMk id="9" creationId="{98150912-7A4D-8CF4-F429-183917B0EF9E}"/>
          </ac:spMkLst>
        </pc:spChg>
        <pc:picChg chg="add del mod">
          <ac:chgData name="Eileen Fleming Suse" userId="S::efs3844@ads.northwestern.edu::725c94ef-d051-42d7-9d33-8572765d592b" providerId="AD" clId="Web-{2D3E1CBF-0F08-92B9-6543-9FE5E77E56E9}" dt="2023-10-28T14:30:38.430" v="174"/>
          <ac:picMkLst>
            <pc:docMk/>
            <pc:sldMk cId="534784336" sldId="628"/>
            <ac:picMk id="6" creationId="{1FC00E2F-3882-E810-155C-29DE0C5A93A5}"/>
          </ac:picMkLst>
        </pc:picChg>
        <pc:picChg chg="add mod">
          <ac:chgData name="Eileen Fleming Suse" userId="S::efs3844@ads.northwestern.edu::725c94ef-d051-42d7-9d33-8572765d592b" providerId="AD" clId="Web-{2D3E1CBF-0F08-92B9-6543-9FE5E77E56E9}" dt="2023-10-28T14:37:02.692" v="193" actId="1076"/>
          <ac:picMkLst>
            <pc:docMk/>
            <pc:sldMk cId="534784336" sldId="628"/>
            <ac:picMk id="7" creationId="{DB88B973-8D9A-30CF-C67C-F3355B614054}"/>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3:48.928" v="261"/>
              <pc2:cmMkLst xmlns:pc2="http://schemas.microsoft.com/office/powerpoint/2019/9/main/command">
                <pc:docMk/>
                <pc:sldMk cId="534784336" sldId="628"/>
                <pc2:cmMk id="{D2FD4193-EF38-49C6-9875-8E415492E71E}"/>
              </pc2:cmMkLst>
            </pc226:cmChg>
          </p:ext>
        </pc:extLst>
      </pc:sldChg>
      <pc:sldChg chg="new del">
        <pc:chgData name="Eileen Fleming Suse" userId="S::efs3844@ads.northwestern.edu::725c94ef-d051-42d7-9d33-8572765d592b" providerId="AD" clId="Web-{2D3E1CBF-0F08-92B9-6543-9FE5E77E56E9}" dt="2023-10-28T00:28:43.703" v="76"/>
        <pc:sldMkLst>
          <pc:docMk/>
          <pc:sldMk cId="2010547247" sldId="634"/>
        </pc:sldMkLst>
      </pc:sldChg>
      <pc:sldChg chg="addSp delSp modSp add replId delCm">
        <pc:chgData name="Eileen Fleming Suse" userId="S::efs3844@ads.northwestern.edu::725c94ef-d051-42d7-9d33-8572765d592b" providerId="AD" clId="Web-{2D3E1CBF-0F08-92B9-6543-9FE5E77E56E9}" dt="2023-10-28T14:54:31.633" v="266" actId="688"/>
        <pc:sldMkLst>
          <pc:docMk/>
          <pc:sldMk cId="411397640" sldId="635"/>
        </pc:sldMkLst>
        <pc:spChg chg="mod">
          <ac:chgData name="Eileen Fleming Suse" userId="S::efs3844@ads.northwestern.edu::725c94ef-d051-42d7-9d33-8572765d592b" providerId="AD" clId="Web-{2D3E1CBF-0F08-92B9-6543-9FE5E77E56E9}" dt="2023-10-28T14:25:22.123" v="159" actId="1076"/>
          <ac:spMkLst>
            <pc:docMk/>
            <pc:sldMk cId="411397640" sldId="635"/>
            <ac:spMk id="2" creationId="{EDBA7EA6-A8BC-1979-2886-87AD1991E00E}"/>
          </ac:spMkLst>
        </pc:spChg>
        <pc:spChg chg="del">
          <ac:chgData name="Eileen Fleming Suse" userId="S::efs3844@ads.northwestern.edu::725c94ef-d051-42d7-9d33-8572765d592b" providerId="AD" clId="Web-{2D3E1CBF-0F08-92B9-6543-9FE5E77E56E9}" dt="2023-10-28T00:28:55.234" v="78"/>
          <ac:spMkLst>
            <pc:docMk/>
            <pc:sldMk cId="411397640" sldId="635"/>
            <ac:spMk id="3" creationId="{22D7074D-B494-B92E-736B-139BAB3175B9}"/>
          </ac:spMkLst>
        </pc:spChg>
        <pc:spChg chg="mod">
          <ac:chgData name="Eileen Fleming Suse" userId="S::efs3844@ads.northwestern.edu::725c94ef-d051-42d7-9d33-8572765d592b" providerId="AD" clId="Web-{2D3E1CBF-0F08-92B9-6543-9FE5E77E56E9}" dt="2023-10-28T14:25:31.623" v="160" actId="1076"/>
          <ac:spMkLst>
            <pc:docMk/>
            <pc:sldMk cId="411397640" sldId="635"/>
            <ac:spMk id="4" creationId="{24F154B2-4E01-4816-22AD-EE966850CD86}"/>
          </ac:spMkLst>
        </pc:spChg>
        <pc:spChg chg="mod">
          <ac:chgData name="Eileen Fleming Suse" userId="S::efs3844@ads.northwestern.edu::725c94ef-d051-42d7-9d33-8572765d592b" providerId="AD" clId="Web-{2D3E1CBF-0F08-92B9-6543-9FE5E77E56E9}" dt="2023-10-28T14:25:40.717" v="163" actId="1076"/>
          <ac:spMkLst>
            <pc:docMk/>
            <pc:sldMk cId="411397640" sldId="635"/>
            <ac:spMk id="6" creationId="{5061076E-BCAA-95BB-947C-06473AB43500}"/>
          </ac:spMkLst>
        </pc:spChg>
        <pc:spChg chg="add mod">
          <ac:chgData name="Eileen Fleming Suse" userId="S::efs3844@ads.northwestern.edu::725c94ef-d051-42d7-9d33-8572765d592b" providerId="AD" clId="Web-{2D3E1CBF-0F08-92B9-6543-9FE5E77E56E9}" dt="2023-10-28T14:54:31.633" v="266" actId="688"/>
          <ac:spMkLst>
            <pc:docMk/>
            <pc:sldMk cId="411397640" sldId="635"/>
            <ac:spMk id="7" creationId="{C4CE6283-A808-AE07-353B-1EEB0D5BF6FD}"/>
          </ac:spMkLst>
        </pc:spChg>
        <pc:spChg chg="add del mod">
          <ac:chgData name="Eileen Fleming Suse" userId="S::efs3844@ads.northwestern.edu::725c94ef-d051-42d7-9d33-8572765d592b" providerId="AD" clId="Web-{2D3E1CBF-0F08-92B9-6543-9FE5E77E56E9}" dt="2023-10-28T14:19:12.080" v="118"/>
          <ac:spMkLst>
            <pc:docMk/>
            <pc:sldMk cId="411397640" sldId="635"/>
            <ac:spMk id="9" creationId="{F51C096E-2197-06DC-5548-06F7FD861993}"/>
          </ac:spMkLst>
        </pc:spChg>
        <pc:spChg chg="mod">
          <ac:chgData name="Eileen Fleming Suse" userId="S::efs3844@ads.northwestern.edu::725c94ef-d051-42d7-9d33-8572765d592b" providerId="AD" clId="Web-{2D3E1CBF-0F08-92B9-6543-9FE5E77E56E9}" dt="2023-10-28T14:25:31.639" v="162" actId="1076"/>
          <ac:spMkLst>
            <pc:docMk/>
            <pc:sldMk cId="411397640" sldId="635"/>
            <ac:spMk id="11" creationId="{1001CA27-B312-ABF1-7B46-5CD64FE61847}"/>
          </ac:spMkLst>
        </pc:spChg>
        <pc:picChg chg="del">
          <ac:chgData name="Eileen Fleming Suse" userId="S::efs3844@ads.northwestern.edu::725c94ef-d051-42d7-9d33-8572765d592b" providerId="AD" clId="Web-{2D3E1CBF-0F08-92B9-6543-9FE5E77E56E9}" dt="2023-10-28T00:28:46.656" v="77"/>
          <ac:picMkLst>
            <pc:docMk/>
            <pc:sldMk cId="411397640" sldId="635"/>
            <ac:picMk id="8" creationId="{69FCDDB0-47F5-DBE4-711A-C6061E65FD92}"/>
          </ac:picMkLst>
        </pc:picChg>
        <pc:picChg chg="mod">
          <ac:chgData name="Eileen Fleming Suse" userId="S::efs3844@ads.northwestern.edu::725c94ef-d051-42d7-9d33-8572765d592b" providerId="AD" clId="Web-{2D3E1CBF-0F08-92B9-6543-9FE5E77E56E9}" dt="2023-10-28T14:25:31.623" v="161" actId="1076"/>
          <ac:picMkLst>
            <pc:docMk/>
            <pc:sldMk cId="411397640" sldId="635"/>
            <ac:picMk id="10" creationId="{25B68D3E-AF30-F369-D540-A435E064866C}"/>
          </ac:picMkLst>
        </pc:picChg>
        <pc:extLst>
          <p:ext xmlns:p="http://schemas.openxmlformats.org/presentationml/2006/main" uri="{D6D511B9-2390-475A-947B-AFAB55BFBCF1}">
            <pc226:cmChg xmlns:pc226="http://schemas.microsoft.com/office/powerpoint/2022/06/main/command" chg="del">
              <pc226:chgData name="Eileen Fleming Suse" userId="S::efs3844@ads.northwestern.edu::725c94ef-d051-42d7-9d33-8572765d592b" providerId="AD" clId="Web-{2D3E1CBF-0F08-92B9-6543-9FE5E77E56E9}" dt="2023-10-28T14:54:21.070" v="265"/>
              <pc2:cmMkLst xmlns:pc2="http://schemas.microsoft.com/office/powerpoint/2019/9/main/command">
                <pc:docMk/>
                <pc:sldMk cId="411397640" sldId="635"/>
                <pc2:cmMk id="{3C68ED1F-70B6-42FD-A606-A0188A0C1982}"/>
              </pc2:cmMkLst>
            </pc226:cmChg>
            <pc226:cmChg xmlns:pc226="http://schemas.microsoft.com/office/powerpoint/2022/06/main/command" chg="del">
              <pc226:chgData name="Eileen Fleming Suse" userId="S::efs3844@ads.northwestern.edu::725c94ef-d051-42d7-9d33-8572765d592b" providerId="AD" clId="Web-{2D3E1CBF-0F08-92B9-6543-9FE5E77E56E9}" dt="2023-10-28T14:54:09.819" v="264"/>
              <pc2:cmMkLst xmlns:pc2="http://schemas.microsoft.com/office/powerpoint/2019/9/main/command">
                <pc:docMk/>
                <pc:sldMk cId="411397640" sldId="635"/>
                <pc2:cmMk id="{00E11887-98E4-479A-8DA4-445B0A6D85E8}"/>
              </pc2:cmMkLst>
            </pc226:cmChg>
          </p:ext>
        </pc:extLst>
      </pc:sldChg>
      <pc:sldChg chg="addSp delSp modSp new modNotes">
        <pc:chgData name="Eileen Fleming Suse" userId="S::efs3844@ads.northwestern.edu::725c94ef-d051-42d7-9d33-8572765d592b" providerId="AD" clId="Web-{2D3E1CBF-0F08-92B9-6543-9FE5E77E56E9}" dt="2023-10-28T14:53:29.990" v="260"/>
        <pc:sldMkLst>
          <pc:docMk/>
          <pc:sldMk cId="975286347" sldId="636"/>
        </pc:sldMkLst>
        <pc:spChg chg="mod">
          <ac:chgData name="Eileen Fleming Suse" userId="S::efs3844@ads.northwestern.edu::725c94ef-d051-42d7-9d33-8572765d592b" providerId="AD" clId="Web-{2D3E1CBF-0F08-92B9-6543-9FE5E77E56E9}" dt="2023-10-28T14:53:20.443" v="259" actId="1076"/>
          <ac:spMkLst>
            <pc:docMk/>
            <pc:sldMk cId="975286347" sldId="636"/>
            <ac:spMk id="2" creationId="{BB53F377-28A9-F2D5-76A8-8CDE2A9E7535}"/>
          </ac:spMkLst>
        </pc:spChg>
        <pc:spChg chg="del">
          <ac:chgData name="Eileen Fleming Suse" userId="S::efs3844@ads.northwestern.edu::725c94ef-d051-42d7-9d33-8572765d592b" providerId="AD" clId="Web-{2D3E1CBF-0F08-92B9-6543-9FE5E77E56E9}" dt="2023-10-28T14:38:30.570" v="209"/>
          <ac:spMkLst>
            <pc:docMk/>
            <pc:sldMk cId="975286347" sldId="636"/>
            <ac:spMk id="3" creationId="{AA591B85-8B99-0001-0D2D-E197FD1E29FA}"/>
          </ac:spMkLst>
        </pc:spChg>
        <pc:spChg chg="add mod">
          <ac:chgData name="Eileen Fleming Suse" userId="S::efs3844@ads.northwestern.edu::725c94ef-d051-42d7-9d33-8572765d592b" providerId="AD" clId="Web-{2D3E1CBF-0F08-92B9-6543-9FE5E77E56E9}" dt="2023-10-28T14:53:10.302" v="258" actId="1076"/>
          <ac:spMkLst>
            <pc:docMk/>
            <pc:sldMk cId="975286347" sldId="636"/>
            <ac:spMk id="6" creationId="{F6338EC5-0A81-7DC2-69F0-D3BF4953F92A}"/>
          </ac:spMkLst>
        </pc:spChg>
        <pc:spChg chg="add mod">
          <ac:chgData name="Eileen Fleming Suse" userId="S::efs3844@ads.northwestern.edu::725c94ef-d051-42d7-9d33-8572765d592b" providerId="AD" clId="Web-{2D3E1CBF-0F08-92B9-6543-9FE5E77E56E9}" dt="2023-10-28T14:51:22.283" v="247" actId="20577"/>
          <ac:spMkLst>
            <pc:docMk/>
            <pc:sldMk cId="975286347" sldId="636"/>
            <ac:spMk id="7" creationId="{3AA2C132-6976-52A2-A4F0-D81D09CBB1EA}"/>
          </ac:spMkLst>
        </pc:spChg>
        <pc:picChg chg="add mod">
          <ac:chgData name="Eileen Fleming Suse" userId="S::efs3844@ads.northwestern.edu::725c94ef-d051-42d7-9d33-8572765d592b" providerId="AD" clId="Web-{2D3E1CBF-0F08-92B9-6543-9FE5E77E56E9}" dt="2023-10-28T14:52:59.786" v="257" actId="1076"/>
          <ac:picMkLst>
            <pc:docMk/>
            <pc:sldMk cId="975286347" sldId="636"/>
            <ac:picMk id="8" creationId="{F6AF464B-BCF9-C413-1A61-5938E8025FD8}"/>
          </ac:picMkLst>
        </pc:picChg>
        <pc:picChg chg="add mod">
          <ac:chgData name="Eileen Fleming Suse" userId="S::efs3844@ads.northwestern.edu::725c94ef-d051-42d7-9d33-8572765d592b" providerId="AD" clId="Web-{2D3E1CBF-0F08-92B9-6543-9FE5E77E56E9}" dt="2023-10-28T14:52:49.004" v="256" actId="14100"/>
          <ac:picMkLst>
            <pc:docMk/>
            <pc:sldMk cId="975286347" sldId="636"/>
            <ac:picMk id="9" creationId="{8553280F-F27E-3A70-1DDD-92D0DF0018F9}"/>
          </ac:picMkLst>
        </pc:picChg>
      </pc:sldChg>
    </pc:docChg>
  </pc:docChgLst>
  <pc:docChgLst>
    <pc:chgData name="Alana Rivera" userId="S::arg3669@ads.northwestern.edu::fc8b707a-b7e9-4f2a-8d71-2d76819b7881" providerId="AD" clId="Web-{5DC65600-F3C9-4205-B138-3708EB0A1C1D}"/>
    <pc:docChg chg="sldOrd">
      <pc:chgData name="Alana Rivera" userId="S::arg3669@ads.northwestern.edu::fc8b707a-b7e9-4f2a-8d71-2d76819b7881" providerId="AD" clId="Web-{5DC65600-F3C9-4205-B138-3708EB0A1C1D}" dt="2023-05-09T18:50:49.614" v="0"/>
      <pc:docMkLst>
        <pc:docMk/>
      </pc:docMkLst>
      <pc:sldChg chg="ord">
        <pc:chgData name="Alana Rivera" userId="S::arg3669@ads.northwestern.edu::fc8b707a-b7e9-4f2a-8d71-2d76819b7881" providerId="AD" clId="Web-{5DC65600-F3C9-4205-B138-3708EB0A1C1D}" dt="2023-05-09T18:50:49.614" v="0"/>
        <pc:sldMkLst>
          <pc:docMk/>
          <pc:sldMk cId="52189943" sldId="343"/>
        </pc:sldMkLst>
      </pc:sldChg>
    </pc:docChg>
  </pc:docChgLst>
  <pc:docChgLst>
    <pc:chgData name="LCaldarelli" userId="S::lcaldarelli_luriechildrens.org#ext#@nuwildcat.onmicrosoft.com::cd79b54d-c14e-4199-a04a-39c6f592e710" providerId="AD" clId="Web-{1D788AEF-8DA4-9FDC-F8F6-781996136A25}"/>
    <pc:docChg chg="delSld">
      <pc:chgData name="LCaldarelli" userId="S::lcaldarelli_luriechildrens.org#ext#@nuwildcat.onmicrosoft.com::cd79b54d-c14e-4199-a04a-39c6f592e710" providerId="AD" clId="Web-{1D788AEF-8DA4-9FDC-F8F6-781996136A25}" dt="2023-11-20T17:20:03.301" v="0"/>
      <pc:docMkLst>
        <pc:docMk/>
      </pc:docMkLst>
      <pc:sldChg chg="del">
        <pc:chgData name="LCaldarelli" userId="S::lcaldarelli_luriechildrens.org#ext#@nuwildcat.onmicrosoft.com::cd79b54d-c14e-4199-a04a-39c6f592e710" providerId="AD" clId="Web-{1D788AEF-8DA4-9FDC-F8F6-781996136A25}" dt="2023-11-20T17:20:03.301" v="0"/>
        <pc:sldMkLst>
          <pc:docMk/>
          <pc:sldMk cId="3124210322" sldId="714"/>
        </pc:sldMkLst>
      </pc:sldChg>
    </pc:docChg>
  </pc:docChgLst>
  <pc:docChgLst>
    <pc:chgData name="Alana Rivera" userId="S::arg3669@ads.northwestern.edu::fc8b707a-b7e9-4f2a-8d71-2d76819b7881" providerId="AD" clId="Web-{316D5976-A92B-4DA1-B7A8-34F7AEF9B15D}"/>
    <pc:docChg chg="modSld">
      <pc:chgData name="Alana Rivera" userId="S::arg3669@ads.northwestern.edu::fc8b707a-b7e9-4f2a-8d71-2d76819b7881" providerId="AD" clId="Web-{316D5976-A92B-4DA1-B7A8-34F7AEF9B15D}" dt="2023-10-25T16:12:34.060" v="3"/>
      <pc:docMkLst>
        <pc:docMk/>
      </pc:docMkLst>
      <pc:sldChg chg="modSp">
        <pc:chgData name="Alana Rivera" userId="S::arg3669@ads.northwestern.edu::fc8b707a-b7e9-4f2a-8d71-2d76819b7881" providerId="AD" clId="Web-{316D5976-A92B-4DA1-B7A8-34F7AEF9B15D}" dt="2023-10-25T16:12:34.060" v="3"/>
        <pc:sldMkLst>
          <pc:docMk/>
          <pc:sldMk cId="4044691067" sldId="283"/>
        </pc:sldMkLst>
        <pc:spChg chg="mod">
          <ac:chgData name="Alana Rivera" userId="S::arg3669@ads.northwestern.edu::fc8b707a-b7e9-4f2a-8d71-2d76819b7881" providerId="AD" clId="Web-{316D5976-A92B-4DA1-B7A8-34F7AEF9B15D}" dt="2023-10-25T16:12:34.060" v="3"/>
          <ac:spMkLst>
            <pc:docMk/>
            <pc:sldMk cId="4044691067" sldId="283"/>
            <ac:spMk id="3" creationId="{00000000-0000-0000-0000-000000000000}"/>
          </ac:spMkLst>
        </pc:spChg>
      </pc:sldChg>
    </pc:docChg>
  </pc:docChgLst>
  <pc:docChgLst>
    <pc:chgData name="Eileen Fleming Suse" userId="S::efs3844@ads.northwestern.edu::725c94ef-d051-42d7-9d33-8572765d592b" providerId="AD" clId="Web-{D1FD5983-AA3B-9DE6-CECC-8854B06948B5}"/>
    <pc:docChg chg="addSld delSld modSld">
      <pc:chgData name="Eileen Fleming Suse" userId="S::efs3844@ads.northwestern.edu::725c94ef-d051-42d7-9d33-8572765d592b" providerId="AD" clId="Web-{D1FD5983-AA3B-9DE6-CECC-8854B06948B5}" dt="2023-11-15T18:35:58.840" v="31"/>
      <pc:docMkLst>
        <pc:docMk/>
      </pc:docMkLst>
      <pc:sldChg chg="modSp">
        <pc:chgData name="Eileen Fleming Suse" userId="S::efs3844@ads.northwestern.edu::725c94ef-d051-42d7-9d33-8572765d592b" providerId="AD" clId="Web-{D1FD5983-AA3B-9DE6-CECC-8854B06948B5}" dt="2023-11-15T18:34:56.120" v="14" actId="1076"/>
        <pc:sldMkLst>
          <pc:docMk/>
          <pc:sldMk cId="3127921386" sldId="280"/>
        </pc:sldMkLst>
        <pc:spChg chg="mod">
          <ac:chgData name="Eileen Fleming Suse" userId="S::efs3844@ads.northwestern.edu::725c94ef-d051-42d7-9d33-8572765d592b" providerId="AD" clId="Web-{D1FD5983-AA3B-9DE6-CECC-8854B06948B5}" dt="2023-11-15T18:34:32.916" v="12" actId="20577"/>
          <ac:spMkLst>
            <pc:docMk/>
            <pc:sldMk cId="3127921386" sldId="280"/>
            <ac:spMk id="3" creationId="{1D742501-F937-8041-84E5-748F96AE991B}"/>
          </ac:spMkLst>
        </pc:spChg>
        <pc:spChg chg="mod">
          <ac:chgData name="Eileen Fleming Suse" userId="S::efs3844@ads.northwestern.edu::725c94ef-d051-42d7-9d33-8572765d592b" providerId="AD" clId="Web-{D1FD5983-AA3B-9DE6-CECC-8854B06948B5}" dt="2023-11-15T18:34:56.120" v="14" actId="1076"/>
          <ac:spMkLst>
            <pc:docMk/>
            <pc:sldMk cId="3127921386" sldId="280"/>
            <ac:spMk id="9" creationId="{7F20A429-9947-F447-2DF2-A5C17B5C6EC1}"/>
          </ac:spMkLst>
        </pc:spChg>
      </pc:sldChg>
      <pc:sldChg chg="delSp modSp">
        <pc:chgData name="Eileen Fleming Suse" userId="S::efs3844@ads.northwestern.edu::725c94ef-d051-42d7-9d33-8572765d592b" providerId="AD" clId="Web-{D1FD5983-AA3B-9DE6-CECC-8854B06948B5}" dt="2023-11-15T18:35:19.902" v="25"/>
        <pc:sldMkLst>
          <pc:docMk/>
          <pc:sldMk cId="4044691067" sldId="283"/>
        </pc:sldMkLst>
        <pc:spChg chg="del">
          <ac:chgData name="Eileen Fleming Suse" userId="S::efs3844@ads.northwestern.edu::725c94ef-d051-42d7-9d33-8572765d592b" providerId="AD" clId="Web-{D1FD5983-AA3B-9DE6-CECC-8854B06948B5}" dt="2023-11-15T18:35:19.902" v="25"/>
          <ac:spMkLst>
            <pc:docMk/>
            <pc:sldMk cId="4044691067" sldId="283"/>
            <ac:spMk id="2" creationId="{00000000-0000-0000-0000-000000000000}"/>
          </ac:spMkLst>
        </pc:spChg>
        <pc:spChg chg="del">
          <ac:chgData name="Eileen Fleming Suse" userId="S::efs3844@ads.northwestern.edu::725c94ef-d051-42d7-9d33-8572765d592b" providerId="AD" clId="Web-{D1FD5983-AA3B-9DE6-CECC-8854B06948B5}" dt="2023-11-15T18:35:19.855" v="24"/>
          <ac:spMkLst>
            <pc:docMk/>
            <pc:sldMk cId="4044691067" sldId="283"/>
            <ac:spMk id="3" creationId="{00000000-0000-0000-0000-000000000000}"/>
          </ac:spMkLst>
        </pc:spChg>
        <pc:spChg chg="mod">
          <ac:chgData name="Eileen Fleming Suse" userId="S::efs3844@ads.northwestern.edu::725c94ef-d051-42d7-9d33-8572765d592b" providerId="AD" clId="Web-{D1FD5983-AA3B-9DE6-CECC-8854B06948B5}" dt="2023-11-15T18:35:19.730" v="23" actId="20577"/>
          <ac:spMkLst>
            <pc:docMk/>
            <pc:sldMk cId="4044691067" sldId="283"/>
            <ac:spMk id="16387" creationId="{00000000-0000-0000-0000-000000000000}"/>
          </ac:spMkLst>
        </pc:spChg>
      </pc:sldChg>
      <pc:sldChg chg="del">
        <pc:chgData name="Eileen Fleming Suse" userId="S::efs3844@ads.northwestern.edu::725c94ef-d051-42d7-9d33-8572765d592b" providerId="AD" clId="Web-{D1FD5983-AA3B-9DE6-CECC-8854B06948B5}" dt="2023-11-15T18:35:58.840" v="31"/>
        <pc:sldMkLst>
          <pc:docMk/>
          <pc:sldMk cId="3004937174" sldId="565"/>
        </pc:sldMkLst>
      </pc:sldChg>
      <pc:sldChg chg="del">
        <pc:chgData name="Eileen Fleming Suse" userId="S::efs3844@ads.northwestern.edu::725c94ef-d051-42d7-9d33-8572765d592b" providerId="AD" clId="Web-{D1FD5983-AA3B-9DE6-CECC-8854B06948B5}" dt="2023-11-15T18:35:19.964" v="27"/>
        <pc:sldMkLst>
          <pc:docMk/>
          <pc:sldMk cId="1271905251" sldId="637"/>
        </pc:sldMkLst>
      </pc:sldChg>
      <pc:sldChg chg="del">
        <pc:chgData name="Eileen Fleming Suse" userId="S::efs3844@ads.northwestern.edu::725c94ef-d051-42d7-9d33-8572765d592b" providerId="AD" clId="Web-{D1FD5983-AA3B-9DE6-CECC-8854B06948B5}" dt="2023-11-15T18:35:19.933" v="26"/>
        <pc:sldMkLst>
          <pc:docMk/>
          <pc:sldMk cId="2890705621" sldId="638"/>
        </pc:sldMkLst>
      </pc:sldChg>
      <pc:sldChg chg="del">
        <pc:chgData name="Eileen Fleming Suse" userId="S::efs3844@ads.northwestern.edu::725c94ef-d051-42d7-9d33-8572765d592b" providerId="AD" clId="Web-{D1FD5983-AA3B-9DE6-CECC-8854B06948B5}" dt="2023-11-15T18:35:58.137" v="30"/>
        <pc:sldMkLst>
          <pc:docMk/>
          <pc:sldMk cId="113281680" sldId="642"/>
        </pc:sldMkLst>
      </pc:sldChg>
      <pc:sldChg chg="add">
        <pc:chgData name="Eileen Fleming Suse" userId="S::efs3844@ads.northwestern.edu::725c94ef-d051-42d7-9d33-8572765d592b" providerId="AD" clId="Web-{D1FD5983-AA3B-9DE6-CECC-8854B06948B5}" dt="2023-11-15T18:35:33.855" v="28"/>
        <pc:sldMkLst>
          <pc:docMk/>
          <pc:sldMk cId="1390938179" sldId="650"/>
        </pc:sldMkLst>
      </pc:sldChg>
      <pc:sldChg chg="add">
        <pc:chgData name="Eileen Fleming Suse" userId="S::efs3844@ads.northwestern.edu::725c94ef-d051-42d7-9d33-8572765d592b" providerId="AD" clId="Web-{D1FD5983-AA3B-9DE6-CECC-8854B06948B5}" dt="2023-11-15T18:35:34.105" v="29"/>
        <pc:sldMkLst>
          <pc:docMk/>
          <pc:sldMk cId="2353676571" sldId="651"/>
        </pc:sldMkLst>
      </pc:sldChg>
    </pc:docChg>
  </pc:docChgLst>
  <pc:docChgLst>
    <pc:chgData name="Alana Rivera" userId="S::arg3669@ads.northwestern.edu::fc8b707a-b7e9-4f2a-8d71-2d76819b7881" providerId="AD" clId="Web-{82A9CFC2-DAE6-1636-50A6-6370820CA2B8}"/>
    <pc:docChg chg="modSld">
      <pc:chgData name="Alana Rivera" userId="S::arg3669@ads.northwestern.edu::fc8b707a-b7e9-4f2a-8d71-2d76819b7881" providerId="AD" clId="Web-{82A9CFC2-DAE6-1636-50A6-6370820CA2B8}" dt="2023-12-06T00:39:52.270" v="4" actId="20577"/>
      <pc:docMkLst>
        <pc:docMk/>
      </pc:docMkLst>
      <pc:sldChg chg="modSp">
        <pc:chgData name="Alana Rivera" userId="S::arg3669@ads.northwestern.edu::fc8b707a-b7e9-4f2a-8d71-2d76819b7881" providerId="AD" clId="Web-{82A9CFC2-DAE6-1636-50A6-6370820CA2B8}" dt="2023-12-06T00:39:52.270" v="4" actId="20577"/>
        <pc:sldMkLst>
          <pc:docMk/>
          <pc:sldMk cId="1949613945" sldId="705"/>
        </pc:sldMkLst>
        <pc:spChg chg="mod">
          <ac:chgData name="Alana Rivera" userId="S::arg3669@ads.northwestern.edu::fc8b707a-b7e9-4f2a-8d71-2d76819b7881" providerId="AD" clId="Web-{82A9CFC2-DAE6-1636-50A6-6370820CA2B8}" dt="2023-12-06T00:39:09.896" v="1" actId="20577"/>
          <ac:spMkLst>
            <pc:docMk/>
            <pc:sldMk cId="1949613945" sldId="705"/>
            <ac:spMk id="2" creationId="{2DE9407A-4283-B111-345C-31D89DFF03A2}"/>
          </ac:spMkLst>
        </pc:spChg>
        <pc:spChg chg="mod">
          <ac:chgData name="Alana Rivera" userId="S::arg3669@ads.northwestern.edu::fc8b707a-b7e9-4f2a-8d71-2d76819b7881" providerId="AD" clId="Web-{82A9CFC2-DAE6-1636-50A6-6370820CA2B8}" dt="2023-12-06T00:39:52.270" v="4" actId="20577"/>
          <ac:spMkLst>
            <pc:docMk/>
            <pc:sldMk cId="1949613945" sldId="705"/>
            <ac:spMk id="3" creationId="{7D25E3C3-3F87-0EF1-E88A-5A092D255913}"/>
          </ac:spMkLst>
        </pc:spChg>
      </pc:sldChg>
    </pc:docChg>
  </pc:docChgLst>
  <pc:docChgLst>
    <pc:chgData name="Isabel Rose Gippo" userId="S::irg9370@ads.northwestern.edu::b10bfe7e-55b9-46dd-9add-2eb52cb66d3b" providerId="AD" clId="Web-{8E3BEBCA-AD6A-76DA-B8D3-33301DA82F27}"/>
    <pc:docChg chg="modSld">
      <pc:chgData name="Isabel Rose Gippo" userId="S::irg9370@ads.northwestern.edu::b10bfe7e-55b9-46dd-9add-2eb52cb66d3b" providerId="AD" clId="Web-{8E3BEBCA-AD6A-76DA-B8D3-33301DA82F27}" dt="2023-10-24T18:26:04.342" v="34"/>
      <pc:docMkLst>
        <pc:docMk/>
      </pc:docMkLst>
      <pc:sldChg chg="addCm">
        <pc:chgData name="Isabel Rose Gippo" userId="S::irg9370@ads.northwestern.edu::b10bfe7e-55b9-46dd-9add-2eb52cb66d3b" providerId="AD" clId="Web-{8E3BEBCA-AD6A-76DA-B8D3-33301DA82F27}" dt="2023-10-24T18:11:44.401" v="0"/>
        <pc:sldMkLst>
          <pc:docMk/>
          <pc:sldMk cId="3090389772" sldId="568"/>
        </pc:sldMkLst>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11:44.401" v="0"/>
              <pc2:cmMkLst xmlns:pc2="http://schemas.microsoft.com/office/powerpoint/2019/9/main/command">
                <pc:docMk/>
                <pc:sldMk cId="3090389772" sldId="568"/>
                <pc2:cmMk id="{137A254D-2737-4985-B0AB-6839DDC46AE0}"/>
              </pc2:cmMkLst>
            </pc226:cmChg>
          </p:ext>
        </pc:extLst>
      </pc:sldChg>
      <pc:sldChg chg="modSp">
        <pc:chgData name="Isabel Rose Gippo" userId="S::irg9370@ads.northwestern.edu::b10bfe7e-55b9-46dd-9add-2eb52cb66d3b" providerId="AD" clId="Web-{8E3BEBCA-AD6A-76DA-B8D3-33301DA82F27}" dt="2023-10-24T18:22:26.399" v="21" actId="20577"/>
        <pc:sldMkLst>
          <pc:docMk/>
          <pc:sldMk cId="1088329954" sldId="569"/>
        </pc:sldMkLst>
        <pc:spChg chg="mod">
          <ac:chgData name="Isabel Rose Gippo" userId="S::irg9370@ads.northwestern.edu::b10bfe7e-55b9-46dd-9add-2eb52cb66d3b" providerId="AD" clId="Web-{8E3BEBCA-AD6A-76DA-B8D3-33301DA82F27}" dt="2023-10-24T18:22:26.399" v="21" actId="20577"/>
          <ac:spMkLst>
            <pc:docMk/>
            <pc:sldMk cId="1088329954" sldId="569"/>
            <ac:spMk id="7" creationId="{EAD90045-A731-42F5-ED3E-D5AE61B97B24}"/>
          </ac:spMkLst>
        </pc:spChg>
      </pc:sldChg>
      <pc:sldChg chg="modSp">
        <pc:chgData name="Isabel Rose Gippo" userId="S::irg9370@ads.northwestern.edu::b10bfe7e-55b9-46dd-9add-2eb52cb66d3b" providerId="AD" clId="Web-{8E3BEBCA-AD6A-76DA-B8D3-33301DA82F27}" dt="2023-10-24T18:22:39.837" v="23"/>
        <pc:sldMkLst>
          <pc:docMk/>
          <pc:sldMk cId="2849312483" sldId="570"/>
        </pc:sldMkLst>
        <pc:spChg chg="mod">
          <ac:chgData name="Isabel Rose Gippo" userId="S::irg9370@ads.northwestern.edu::b10bfe7e-55b9-46dd-9add-2eb52cb66d3b" providerId="AD" clId="Web-{8E3BEBCA-AD6A-76DA-B8D3-33301DA82F27}" dt="2023-10-24T18:13:20.762" v="1"/>
          <ac:spMkLst>
            <pc:docMk/>
            <pc:sldMk cId="2849312483" sldId="570"/>
            <ac:spMk id="5" creationId="{E069BE35-38BF-B866-0B62-A243ACB6F110}"/>
          </ac:spMkLst>
        </pc:spChg>
        <pc:spChg chg="mod">
          <ac:chgData name="Isabel Rose Gippo" userId="S::irg9370@ads.northwestern.edu::b10bfe7e-55b9-46dd-9add-2eb52cb66d3b" providerId="AD" clId="Web-{8E3BEBCA-AD6A-76DA-B8D3-33301DA82F27}" dt="2023-10-24T18:22:39.837" v="23"/>
          <ac:spMkLst>
            <pc:docMk/>
            <pc:sldMk cId="2849312483" sldId="570"/>
            <ac:spMk id="10" creationId="{C8307CA0-040F-CDB1-5F4D-16A04C6E74DF}"/>
          </ac:spMkLst>
        </pc:spChg>
      </pc:sldChg>
      <pc:sldChg chg="modSp addCm modCm">
        <pc:chgData name="Isabel Rose Gippo" userId="S::irg9370@ads.northwestern.edu::b10bfe7e-55b9-46dd-9add-2eb52cb66d3b" providerId="AD" clId="Web-{8E3BEBCA-AD6A-76DA-B8D3-33301DA82F27}" dt="2023-10-24T18:23:42.745" v="30" actId="1076"/>
        <pc:sldMkLst>
          <pc:docMk/>
          <pc:sldMk cId="1337825202" sldId="571"/>
        </pc:sldMkLst>
        <pc:spChg chg="mod">
          <ac:chgData name="Isabel Rose Gippo" userId="S::irg9370@ads.northwestern.edu::b10bfe7e-55b9-46dd-9add-2eb52cb66d3b" providerId="AD" clId="Web-{8E3BEBCA-AD6A-76DA-B8D3-33301DA82F27}" dt="2023-10-24T18:23:26.463" v="28" actId="1076"/>
          <ac:spMkLst>
            <pc:docMk/>
            <pc:sldMk cId="1337825202" sldId="571"/>
            <ac:spMk id="4" creationId="{16B24218-AF37-F6C6-7684-E7E3C16AFAF4}"/>
          </ac:spMkLst>
        </pc:spChg>
        <pc:spChg chg="mod">
          <ac:chgData name="Isabel Rose Gippo" userId="S::irg9370@ads.northwestern.edu::b10bfe7e-55b9-46dd-9add-2eb52cb66d3b" providerId="AD" clId="Web-{8E3BEBCA-AD6A-76DA-B8D3-33301DA82F27}" dt="2023-10-24T18:23:42.745" v="30" actId="1076"/>
          <ac:spMkLst>
            <pc:docMk/>
            <pc:sldMk cId="1337825202" sldId="571"/>
            <ac:spMk id="5" creationId="{45477BD9-E066-785E-8D58-760863918D07}"/>
          </ac:spMkLst>
        </pc:spChg>
        <pc:spChg chg="mod">
          <ac:chgData name="Isabel Rose Gippo" userId="S::irg9370@ads.northwestern.edu::b10bfe7e-55b9-46dd-9add-2eb52cb66d3b" providerId="AD" clId="Web-{8E3BEBCA-AD6A-76DA-B8D3-33301DA82F27}" dt="2023-10-24T18:23:31.698" v="29" actId="1076"/>
          <ac:spMkLst>
            <pc:docMk/>
            <pc:sldMk cId="1337825202" sldId="571"/>
            <ac:spMk id="7" creationId="{70F70170-82A9-3F58-8A7E-1C8F0DE96C28}"/>
          </ac:spMkLst>
        </pc:spChg>
        <pc:spChg chg="mod">
          <ac:chgData name="Isabel Rose Gippo" userId="S::irg9370@ads.northwestern.edu::b10bfe7e-55b9-46dd-9add-2eb52cb66d3b" providerId="AD" clId="Web-{8E3BEBCA-AD6A-76DA-B8D3-33301DA82F27}" dt="2023-10-24T18:23:19.760" v="26" actId="1076"/>
          <ac:spMkLst>
            <pc:docMk/>
            <pc:sldMk cId="1337825202" sldId="571"/>
            <ac:spMk id="19" creationId="{F49C1F1A-614A-5749-1A3F-78980B65ADBC}"/>
          </ac:spMkLst>
        </pc:spChg>
        <pc:picChg chg="mod">
          <ac:chgData name="Isabel Rose Gippo" userId="S::irg9370@ads.northwestern.edu::b10bfe7e-55b9-46dd-9add-2eb52cb66d3b" providerId="AD" clId="Web-{8E3BEBCA-AD6A-76DA-B8D3-33301DA82F27}" dt="2023-10-24T18:23:21.682" v="27" actId="1076"/>
          <ac:picMkLst>
            <pc:docMk/>
            <pc:sldMk cId="1337825202" sldId="571"/>
            <ac:picMk id="3" creationId="{295316AB-273C-55D8-0FED-C92B67DB5F3C}"/>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3:05.041" v="24"/>
              <pc2:cmMkLst xmlns:pc2="http://schemas.microsoft.com/office/powerpoint/2019/9/main/command">
                <pc:docMk/>
                <pc:sldMk cId="1337825202" sldId="571"/>
                <pc2:cmMk id="{597B57DA-0034-4896-9C5A-F5F5B1181A4B}"/>
              </pc2:cmMkLst>
              <pc226:cmRplyChg chg="add">
                <pc226:chgData name="Isabel Rose Gippo" userId="S::irg9370@ads.northwestern.edu::b10bfe7e-55b9-46dd-9add-2eb52cb66d3b" providerId="AD" clId="Web-{8E3BEBCA-AD6A-76DA-B8D3-33301DA82F27}" dt="2023-10-24T18:23:05.041" v="24"/>
                <pc2:cmRplyMkLst xmlns:pc2="http://schemas.microsoft.com/office/powerpoint/2019/9/main/command">
                  <pc:docMk/>
                  <pc:sldMk cId="1337825202" sldId="571"/>
                  <pc2:cmMk id="{597B57DA-0034-4896-9C5A-F5F5B1181A4B}"/>
                  <pc2:cmRplyMk id="{0B20A1DB-B066-4B4C-A06C-07EF4136C81F}"/>
                </pc2:cmRplyMkLst>
              </pc226:cmRplyChg>
            </pc226:cmChg>
          </p:ext>
        </pc:extLst>
      </pc:sldChg>
      <pc:sldChg chg="modSp addCm">
        <pc:chgData name="Isabel Rose Gippo" userId="S::irg9370@ads.northwestern.edu::b10bfe7e-55b9-46dd-9add-2eb52cb66d3b" providerId="AD" clId="Web-{8E3BEBCA-AD6A-76DA-B8D3-33301DA82F27}" dt="2023-10-24T18:26:04.342" v="34"/>
        <pc:sldMkLst>
          <pc:docMk/>
          <pc:sldMk cId="1568500938" sldId="575"/>
        </pc:sldMkLst>
        <pc:spChg chg="mod">
          <ac:chgData name="Isabel Rose Gippo" userId="S::irg9370@ads.northwestern.edu::b10bfe7e-55b9-46dd-9add-2eb52cb66d3b" providerId="AD" clId="Web-{8E3BEBCA-AD6A-76DA-B8D3-33301DA82F27}" dt="2023-10-24T18:24:13.043" v="33" actId="1076"/>
          <ac:spMkLst>
            <pc:docMk/>
            <pc:sldMk cId="1568500938" sldId="575"/>
            <ac:spMk id="4" creationId="{16B24218-AF37-F6C6-7684-E7E3C16AFAF4}"/>
          </ac:spMkLst>
        </pc:spChg>
        <pc:spChg chg="mod">
          <ac:chgData name="Isabel Rose Gippo" userId="S::irg9370@ads.northwestern.edu::b10bfe7e-55b9-46dd-9add-2eb52cb66d3b" providerId="AD" clId="Web-{8E3BEBCA-AD6A-76DA-B8D3-33301DA82F27}" dt="2023-10-24T18:24:07.386" v="32" actId="1076"/>
          <ac:spMkLst>
            <pc:docMk/>
            <pc:sldMk cId="1568500938" sldId="575"/>
            <ac:spMk id="19" creationId="{F49C1F1A-614A-5749-1A3F-78980B65ADBC}"/>
          </ac:spMkLst>
        </pc:spChg>
        <pc:picChg chg="mod">
          <ac:chgData name="Isabel Rose Gippo" userId="S::irg9370@ads.northwestern.edu::b10bfe7e-55b9-46dd-9add-2eb52cb66d3b" providerId="AD" clId="Web-{8E3BEBCA-AD6A-76DA-B8D3-33301DA82F27}" dt="2023-10-24T18:24:01.308" v="31" actId="1076"/>
          <ac:picMkLst>
            <pc:docMk/>
            <pc:sldMk cId="1568500938" sldId="575"/>
            <ac:picMk id="8" creationId="{C4A61916-BC63-F6E7-BBA0-F124F7732FEA}"/>
          </ac:picMkLst>
        </pc:picChg>
        <pc:extLst>
          <p:ext xmlns:p="http://schemas.openxmlformats.org/presentationml/2006/main" uri="{D6D511B9-2390-475A-947B-AFAB55BFBCF1}">
            <pc226:cmChg xmlns:pc226="http://schemas.microsoft.com/office/powerpoint/2022/06/main/command" chg="add">
              <pc226:chgData name="Isabel Rose Gippo" userId="S::irg9370@ads.northwestern.edu::b10bfe7e-55b9-46dd-9add-2eb52cb66d3b" providerId="AD" clId="Web-{8E3BEBCA-AD6A-76DA-B8D3-33301DA82F27}" dt="2023-10-24T18:26:04.342" v="34"/>
              <pc2:cmMkLst xmlns:pc2="http://schemas.microsoft.com/office/powerpoint/2019/9/main/command">
                <pc:docMk/>
                <pc:sldMk cId="1568500938" sldId="575"/>
                <pc2:cmMk id="{AE1B6C45-0EF0-4CD3-8E51-393E7FE3AF62}"/>
              </pc2:cmMkLst>
            </pc226:cmChg>
          </p:ext>
        </pc:extLst>
      </pc:sldChg>
      <pc:sldChg chg="modSp">
        <pc:chgData name="Isabel Rose Gippo" userId="S::irg9370@ads.northwestern.edu::b10bfe7e-55b9-46dd-9add-2eb52cb66d3b" providerId="AD" clId="Web-{8E3BEBCA-AD6A-76DA-B8D3-33301DA82F27}" dt="2023-10-24T18:21:10.257" v="19" actId="1076"/>
        <pc:sldMkLst>
          <pc:docMk/>
          <pc:sldMk cId="1407824229" sldId="576"/>
        </pc:sldMkLst>
        <pc:spChg chg="mod">
          <ac:chgData name="Isabel Rose Gippo" userId="S::irg9370@ads.northwestern.edu::b10bfe7e-55b9-46dd-9add-2eb52cb66d3b" providerId="AD" clId="Web-{8E3BEBCA-AD6A-76DA-B8D3-33301DA82F27}" dt="2023-10-24T18:21:10.257" v="19" actId="1076"/>
          <ac:spMkLst>
            <pc:docMk/>
            <pc:sldMk cId="1407824229" sldId="576"/>
            <ac:spMk id="5" creationId="{45477BD9-E066-785E-8D58-760863918D07}"/>
          </ac:spMkLst>
        </pc:spChg>
        <pc:spChg chg="mod">
          <ac:chgData name="Isabel Rose Gippo" userId="S::irg9370@ads.northwestern.edu::b10bfe7e-55b9-46dd-9add-2eb52cb66d3b" providerId="AD" clId="Web-{8E3BEBCA-AD6A-76DA-B8D3-33301DA82F27}" dt="2023-10-24T18:21:07.601" v="18" actId="14100"/>
          <ac:spMkLst>
            <pc:docMk/>
            <pc:sldMk cId="1407824229" sldId="576"/>
            <ac:spMk id="7" creationId="{70F70170-82A9-3F58-8A7E-1C8F0DE96C28}"/>
          </ac:spMkLst>
        </pc:spChg>
      </pc:sldChg>
    </pc:docChg>
  </pc:docChgLst>
  <pc:docChgLst>
    <pc:chgData name="Alana Rivera" userId="S::arg3669@ads.northwestern.edu::fc8b707a-b7e9-4f2a-8d71-2d76819b7881" providerId="AD" clId="Web-{9570DE12-7482-A365-A3C2-E94E5026C97C}"/>
    <pc:docChg chg="modSld">
      <pc:chgData name="Alana Rivera" userId="S::arg3669@ads.northwestern.edu::fc8b707a-b7e9-4f2a-8d71-2d76819b7881" providerId="AD" clId="Web-{9570DE12-7482-A365-A3C2-E94E5026C97C}" dt="2023-11-17T16:55:40.336" v="20" actId="20577"/>
      <pc:docMkLst>
        <pc:docMk/>
      </pc:docMkLst>
      <pc:sldChg chg="modSp">
        <pc:chgData name="Alana Rivera" userId="S::arg3669@ads.northwestern.edu::fc8b707a-b7e9-4f2a-8d71-2d76819b7881" providerId="AD" clId="Web-{9570DE12-7482-A365-A3C2-E94E5026C97C}" dt="2023-11-17T16:52:05.785" v="4"/>
        <pc:sldMkLst>
          <pc:docMk/>
          <pc:sldMk cId="714682852" sldId="552"/>
        </pc:sldMkLst>
        <pc:spChg chg="mod">
          <ac:chgData name="Alana Rivera" userId="S::arg3669@ads.northwestern.edu::fc8b707a-b7e9-4f2a-8d71-2d76819b7881" providerId="AD" clId="Web-{9570DE12-7482-A365-A3C2-E94E5026C97C}" dt="2023-11-17T16:52:05.785" v="4"/>
          <ac:spMkLst>
            <pc:docMk/>
            <pc:sldMk cId="714682852" sldId="552"/>
            <ac:spMk id="2" creationId="{966FAC69-62AA-D40E-C4BD-DAD5BF599C69}"/>
          </ac:spMkLst>
        </pc:spChg>
      </pc:sldChg>
      <pc:sldChg chg="modSp">
        <pc:chgData name="Alana Rivera" userId="S::arg3669@ads.northwestern.edu::fc8b707a-b7e9-4f2a-8d71-2d76819b7881" providerId="AD" clId="Web-{9570DE12-7482-A365-A3C2-E94E5026C97C}" dt="2023-11-17T16:52:26.286" v="6"/>
        <pc:sldMkLst>
          <pc:docMk/>
          <pc:sldMk cId="3536510335" sldId="553"/>
        </pc:sldMkLst>
        <pc:spChg chg="mod">
          <ac:chgData name="Alana Rivera" userId="S::arg3669@ads.northwestern.edu::fc8b707a-b7e9-4f2a-8d71-2d76819b7881" providerId="AD" clId="Web-{9570DE12-7482-A365-A3C2-E94E5026C97C}" dt="2023-11-17T16:52:26.286" v="6"/>
          <ac:spMkLst>
            <pc:docMk/>
            <pc:sldMk cId="3536510335" sldId="553"/>
            <ac:spMk id="10" creationId="{7FA2B65B-6DF5-1F48-C692-646D2CEF0E2F}"/>
          </ac:spMkLst>
        </pc:spChg>
      </pc:sldChg>
      <pc:sldChg chg="modSp">
        <pc:chgData name="Alana Rivera" userId="S::arg3669@ads.northwestern.edu::fc8b707a-b7e9-4f2a-8d71-2d76819b7881" providerId="AD" clId="Web-{9570DE12-7482-A365-A3C2-E94E5026C97C}" dt="2023-11-17T16:52:15.988" v="5"/>
        <pc:sldMkLst>
          <pc:docMk/>
          <pc:sldMk cId="1231844700" sldId="554"/>
        </pc:sldMkLst>
        <pc:spChg chg="mod">
          <ac:chgData name="Alana Rivera" userId="S::arg3669@ads.northwestern.edu::fc8b707a-b7e9-4f2a-8d71-2d76819b7881" providerId="AD" clId="Web-{9570DE12-7482-A365-A3C2-E94E5026C97C}" dt="2023-11-17T16:52:15.988" v="5"/>
          <ac:spMkLst>
            <pc:docMk/>
            <pc:sldMk cId="1231844700" sldId="554"/>
            <ac:spMk id="2" creationId="{61FD53C4-A666-522F-F9AB-081D90D541D1}"/>
          </ac:spMkLst>
        </pc:spChg>
      </pc:sldChg>
      <pc:sldChg chg="modSp">
        <pc:chgData name="Alana Rivera" userId="S::arg3669@ads.northwestern.edu::fc8b707a-b7e9-4f2a-8d71-2d76819b7881" providerId="AD" clId="Web-{9570DE12-7482-A365-A3C2-E94E5026C97C}" dt="2023-11-17T16:48:18.031" v="3" actId="20577"/>
        <pc:sldMkLst>
          <pc:docMk/>
          <pc:sldMk cId="3336998141" sldId="681"/>
        </pc:sldMkLst>
        <pc:spChg chg="mod">
          <ac:chgData name="Alana Rivera" userId="S::arg3669@ads.northwestern.edu::fc8b707a-b7e9-4f2a-8d71-2d76819b7881" providerId="AD" clId="Web-{9570DE12-7482-A365-A3C2-E94E5026C97C}" dt="2023-11-17T16:48:18.031" v="3" actId="20577"/>
          <ac:spMkLst>
            <pc:docMk/>
            <pc:sldMk cId="3336998141" sldId="681"/>
            <ac:spMk id="3" creationId="{00000000-0000-0000-0000-000000000000}"/>
          </ac:spMkLst>
        </pc:spChg>
      </pc:sldChg>
      <pc:sldChg chg="addSp modSp">
        <pc:chgData name="Alana Rivera" userId="S::arg3669@ads.northwestern.edu::fc8b707a-b7e9-4f2a-8d71-2d76819b7881" providerId="AD" clId="Web-{9570DE12-7482-A365-A3C2-E94E5026C97C}" dt="2023-11-17T16:55:40.336" v="20" actId="20577"/>
        <pc:sldMkLst>
          <pc:docMk/>
          <pc:sldMk cId="2547146411" sldId="699"/>
        </pc:sldMkLst>
        <pc:spChg chg="add mod">
          <ac:chgData name="Alana Rivera" userId="S::arg3669@ads.northwestern.edu::fc8b707a-b7e9-4f2a-8d71-2d76819b7881" providerId="AD" clId="Web-{9570DE12-7482-A365-A3C2-E94E5026C97C}" dt="2023-11-17T16:55:40.336" v="20" actId="20577"/>
          <ac:spMkLst>
            <pc:docMk/>
            <pc:sldMk cId="2547146411" sldId="699"/>
            <ac:spMk id="38" creationId="{38A58365-605F-9282-AEAB-A7E2E448F3E2}"/>
          </ac:spMkLst>
        </pc:spChg>
      </pc:sldChg>
    </pc:docChg>
  </pc:docChgLst>
</pc:chgInfo>
</file>

<file path=ppt/comments/modernComment_2F7_1BB70A98.xml><?xml version="1.0" encoding="utf-8"?>
<p188:cmLst xmlns:a="http://schemas.openxmlformats.org/drawingml/2006/main" xmlns:r="http://schemas.openxmlformats.org/officeDocument/2006/relationships" xmlns:p188="http://schemas.microsoft.com/office/powerpoint/2018/8/main">
  <p188:cm id="{1ABEFDA4-62D1-464F-AA17-6E8AA7D3B5E5}" authorId="{E5FBE01E-7B92-B9C0-0995-5C3FE74E91A1}" status="resolved" created="2023-10-24T18:05:32.641">
    <pc:sldMkLst xmlns:pc="http://schemas.microsoft.com/office/powerpoint/2013/main/command">
      <pc:docMk/>
      <pc:sldMk cId="2564870475" sldId="566"/>
    </pc:sldMkLst>
    <p188:txBody>
      <a:bodyPr/>
      <a:lstStyle/>
      <a:p>
        <a:r>
          <a:rPr lang="en-US"/>
          <a:t>focus on the drivers and discuss how we we roll these out quarterly???</a:t>
        </a:r>
      </a:p>
    </p188:txBody>
  </p188:cm>
</p188:cmLst>
</file>

<file path=ppt/diagrams/_rels/data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ata3.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diagrams/_rels/data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svg"/><Relationship Id="rId1" Type="http://schemas.openxmlformats.org/officeDocument/2006/relationships/image" Target="../media/image149.png"/><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diagrams/_rels/data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2" Type="http://schemas.openxmlformats.org/officeDocument/2006/relationships/image" Target="../media/image164.svg"/><Relationship Id="rId1" Type="http://schemas.openxmlformats.org/officeDocument/2006/relationships/image" Target="../media/image163.png"/><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66.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28.svg"/><Relationship Id="rId3" Type="http://schemas.openxmlformats.org/officeDocument/2006/relationships/image" Target="../media/image123.png"/><Relationship Id="rId7" Type="http://schemas.openxmlformats.org/officeDocument/2006/relationships/image" Target="../media/image127.png"/><Relationship Id="rId12" Type="http://schemas.openxmlformats.org/officeDocument/2006/relationships/image" Target="../media/image132.svg"/><Relationship Id="rId2" Type="http://schemas.openxmlformats.org/officeDocument/2006/relationships/image" Target="../media/image122.svg"/><Relationship Id="rId1" Type="http://schemas.openxmlformats.org/officeDocument/2006/relationships/image" Target="../media/image121.png"/><Relationship Id="rId6" Type="http://schemas.openxmlformats.org/officeDocument/2006/relationships/image" Target="../media/image126.svg"/><Relationship Id="rId11" Type="http://schemas.openxmlformats.org/officeDocument/2006/relationships/image" Target="../media/image131.png"/><Relationship Id="rId5" Type="http://schemas.openxmlformats.org/officeDocument/2006/relationships/image" Target="../media/image125.png"/><Relationship Id="rId10" Type="http://schemas.openxmlformats.org/officeDocument/2006/relationships/image" Target="../media/image130.svg"/><Relationship Id="rId4" Type="http://schemas.openxmlformats.org/officeDocument/2006/relationships/image" Target="../media/image124.svg"/><Relationship Id="rId9" Type="http://schemas.openxmlformats.org/officeDocument/2006/relationships/image" Target="../media/image129.png"/></Relationships>
</file>

<file path=ppt/diagrams/_rels/drawing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svg"/><Relationship Id="rId1" Type="http://schemas.openxmlformats.org/officeDocument/2006/relationships/image" Target="../media/image149.png"/><Relationship Id="rId6" Type="http://schemas.openxmlformats.org/officeDocument/2006/relationships/image" Target="../media/image154.svg"/><Relationship Id="rId5" Type="http://schemas.openxmlformats.org/officeDocument/2006/relationships/image" Target="../media/image153.png"/><Relationship Id="rId4" Type="http://schemas.openxmlformats.org/officeDocument/2006/relationships/image" Target="../media/image152.svg"/></Relationships>
</file>

<file path=ppt/diagrams/_rels/drawing9.xml.rels><?xml version="1.0" encoding="UTF-8" standalone="yes"?>
<Relationships xmlns="http://schemas.openxmlformats.org/package/2006/relationships"><Relationship Id="rId8" Type="http://schemas.openxmlformats.org/officeDocument/2006/relationships/image" Target="../media/image170.svg"/><Relationship Id="rId3" Type="http://schemas.openxmlformats.org/officeDocument/2006/relationships/image" Target="../media/image165.png"/><Relationship Id="rId7" Type="http://schemas.openxmlformats.org/officeDocument/2006/relationships/image" Target="../media/image169.png"/><Relationship Id="rId2" Type="http://schemas.openxmlformats.org/officeDocument/2006/relationships/image" Target="../media/image164.svg"/><Relationship Id="rId1" Type="http://schemas.openxmlformats.org/officeDocument/2006/relationships/image" Target="../media/image163.png"/><Relationship Id="rId6" Type="http://schemas.openxmlformats.org/officeDocument/2006/relationships/image" Target="../media/image168.svg"/><Relationship Id="rId5" Type="http://schemas.openxmlformats.org/officeDocument/2006/relationships/image" Target="../media/image167.png"/><Relationship Id="rId4" Type="http://schemas.openxmlformats.org/officeDocument/2006/relationships/image" Target="../media/image166.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30BAD0-BABA-45AA-9F9C-64365E6BFC3B}" type="doc">
      <dgm:prSet loTypeId="urn:microsoft.com/office/officeart/2018/5/layout/CenteredIconLabelDescriptionList" loCatId="icon" qsTypeId="urn:microsoft.com/office/officeart/2005/8/quickstyle/simple1" qsCatId="simple" csTypeId="urn:microsoft.com/office/officeart/2018/5/colors/Iconchunking_neutralbg_accent1_2" csCatId="accent1" phldr="1"/>
      <dgm:spPr/>
      <dgm:t>
        <a:bodyPr/>
        <a:lstStyle/>
        <a:p>
          <a:endParaRPr lang="en-US"/>
        </a:p>
      </dgm:t>
    </dgm:pt>
    <dgm:pt modelId="{953405DE-6267-4957-8F92-170837222670}">
      <dgm:prSet/>
      <dgm:spPr/>
      <dgm:t>
        <a:bodyPr/>
        <a:lstStyle/>
        <a:p>
          <a:pPr>
            <a:lnSpc>
              <a:spcPct val="100000"/>
            </a:lnSpc>
            <a:defRPr b="1"/>
          </a:pPr>
          <a:r>
            <a:rPr lang="en-US"/>
            <a:t>Collaborative Learning</a:t>
          </a:r>
        </a:p>
      </dgm:t>
    </dgm:pt>
    <dgm:pt modelId="{BC2BB700-FE9B-4EC9-8354-3B9299A55EEE}" type="parTrans" cxnId="{A2875581-AB1D-48A7-8367-9C6397E7DD4B}">
      <dgm:prSet/>
      <dgm:spPr/>
      <dgm:t>
        <a:bodyPr/>
        <a:lstStyle/>
        <a:p>
          <a:endParaRPr lang="en-US"/>
        </a:p>
      </dgm:t>
    </dgm:pt>
    <dgm:pt modelId="{3CAC77EF-B213-49C9-A943-5022AF93E48C}" type="sibTrans" cxnId="{A2875581-AB1D-48A7-8367-9C6397E7DD4B}">
      <dgm:prSet/>
      <dgm:spPr/>
      <dgm:t>
        <a:bodyPr/>
        <a:lstStyle/>
        <a:p>
          <a:endParaRPr lang="en-US"/>
        </a:p>
      </dgm:t>
    </dgm:pt>
    <dgm:pt modelId="{04019DCE-A8E9-448A-AC7D-A7A35D72ECEC}">
      <dgm:prSet/>
      <dgm:spPr/>
      <dgm:t>
        <a:bodyPr/>
        <a:lstStyle/>
        <a:p>
          <a:pPr>
            <a:lnSpc>
              <a:spcPct val="100000"/>
            </a:lnSpc>
          </a:pPr>
          <a:r>
            <a:rPr lang="en-US"/>
            <a:t>Monthly webinars</a:t>
          </a:r>
        </a:p>
      </dgm:t>
    </dgm:pt>
    <dgm:pt modelId="{0F9E3096-2E25-466D-8358-2FCD0DE08D0E}" type="parTrans" cxnId="{721DEFBA-88AD-4782-B923-863BC45F43BC}">
      <dgm:prSet/>
      <dgm:spPr/>
      <dgm:t>
        <a:bodyPr/>
        <a:lstStyle/>
        <a:p>
          <a:endParaRPr lang="en-US"/>
        </a:p>
      </dgm:t>
    </dgm:pt>
    <dgm:pt modelId="{18E994F0-03A4-4158-B838-842D5F2DCA4E}" type="sibTrans" cxnId="{721DEFBA-88AD-4782-B923-863BC45F43BC}">
      <dgm:prSet/>
      <dgm:spPr/>
      <dgm:t>
        <a:bodyPr/>
        <a:lstStyle/>
        <a:p>
          <a:endParaRPr lang="en-US"/>
        </a:p>
      </dgm:t>
    </dgm:pt>
    <dgm:pt modelId="{66F4987E-1719-4A03-8DD4-EF3646AAAEB1}">
      <dgm:prSet/>
      <dgm:spPr/>
      <dgm:t>
        <a:bodyPr/>
        <a:lstStyle/>
        <a:p>
          <a:pPr>
            <a:lnSpc>
              <a:spcPct val="100000"/>
            </a:lnSpc>
          </a:pPr>
          <a:r>
            <a:rPr lang="en-US"/>
            <a:t>Expert Speakers</a:t>
          </a:r>
        </a:p>
      </dgm:t>
    </dgm:pt>
    <dgm:pt modelId="{FCC193A1-B9FA-4477-AAE4-8B035E4AFB45}" type="parTrans" cxnId="{EBA0F39E-7329-4BD3-9531-1A1BC8E176E6}">
      <dgm:prSet/>
      <dgm:spPr/>
      <dgm:t>
        <a:bodyPr/>
        <a:lstStyle/>
        <a:p>
          <a:endParaRPr lang="en-US"/>
        </a:p>
      </dgm:t>
    </dgm:pt>
    <dgm:pt modelId="{2AA6BAB7-C382-4393-9859-4C7C3527CA9D}" type="sibTrans" cxnId="{EBA0F39E-7329-4BD3-9531-1A1BC8E176E6}">
      <dgm:prSet/>
      <dgm:spPr/>
      <dgm:t>
        <a:bodyPr/>
        <a:lstStyle/>
        <a:p>
          <a:endParaRPr lang="en-US"/>
        </a:p>
      </dgm:t>
    </dgm:pt>
    <dgm:pt modelId="{D8BB893E-8006-46B3-81EA-4F3DC95B12DE}">
      <dgm:prSet/>
      <dgm:spPr/>
      <dgm:t>
        <a:bodyPr/>
        <a:lstStyle/>
        <a:p>
          <a:pPr>
            <a:lnSpc>
              <a:spcPct val="100000"/>
            </a:lnSpc>
          </a:pPr>
          <a:r>
            <a:rPr lang="en-US"/>
            <a:t>Team Sharing</a:t>
          </a:r>
        </a:p>
      </dgm:t>
    </dgm:pt>
    <dgm:pt modelId="{A4D9BC1F-0478-4848-A307-350FC71BAE7D}" type="parTrans" cxnId="{A8BFD3AE-0A35-4A7C-8A79-F67AE1F73E43}">
      <dgm:prSet/>
      <dgm:spPr/>
      <dgm:t>
        <a:bodyPr/>
        <a:lstStyle/>
        <a:p>
          <a:endParaRPr lang="en-US"/>
        </a:p>
      </dgm:t>
    </dgm:pt>
    <dgm:pt modelId="{E99C7F3C-0138-405F-B16F-A0579CF1B6AF}" type="sibTrans" cxnId="{A8BFD3AE-0A35-4A7C-8A79-F67AE1F73E43}">
      <dgm:prSet/>
      <dgm:spPr/>
      <dgm:t>
        <a:bodyPr/>
        <a:lstStyle/>
        <a:p>
          <a:endParaRPr lang="en-US"/>
        </a:p>
      </dgm:t>
    </dgm:pt>
    <dgm:pt modelId="{F5C98AD1-F451-4AFC-AFF2-00E57C85D549}">
      <dgm:prSet/>
      <dgm:spPr/>
      <dgm:t>
        <a:bodyPr/>
        <a:lstStyle/>
        <a:p>
          <a:pPr>
            <a:lnSpc>
              <a:spcPct val="100000"/>
            </a:lnSpc>
            <a:defRPr b="1"/>
          </a:pPr>
          <a:r>
            <a:rPr lang="en-US"/>
            <a:t>Rapid Response Data</a:t>
          </a:r>
        </a:p>
      </dgm:t>
    </dgm:pt>
    <dgm:pt modelId="{B4CCB3AC-84A7-439F-AC56-92A554BFCD59}" type="parTrans" cxnId="{26A9B113-3FB3-46D0-83B9-D8BD89EEEB05}">
      <dgm:prSet/>
      <dgm:spPr/>
      <dgm:t>
        <a:bodyPr/>
        <a:lstStyle/>
        <a:p>
          <a:endParaRPr lang="en-US"/>
        </a:p>
      </dgm:t>
    </dgm:pt>
    <dgm:pt modelId="{C563F9B8-97C0-4A90-8E76-539A82FE8446}" type="sibTrans" cxnId="{26A9B113-3FB3-46D0-83B9-D8BD89EEEB05}">
      <dgm:prSet/>
      <dgm:spPr/>
      <dgm:t>
        <a:bodyPr/>
        <a:lstStyle/>
        <a:p>
          <a:endParaRPr lang="en-US"/>
        </a:p>
      </dgm:t>
    </dgm:pt>
    <dgm:pt modelId="{64B76EAC-9C1C-4DC4-82AF-BF939A36121C}">
      <dgm:prSet/>
      <dgm:spPr/>
      <dgm:t>
        <a:bodyPr/>
        <a:lstStyle/>
        <a:p>
          <a:pPr>
            <a:lnSpc>
              <a:spcPct val="100000"/>
            </a:lnSpc>
          </a:pPr>
          <a:r>
            <a:rPr lang="en-US"/>
            <a:t>Monthly Data Entry</a:t>
          </a:r>
        </a:p>
      </dgm:t>
    </dgm:pt>
    <dgm:pt modelId="{DA007117-E0DE-44F1-A85D-3C51CAF69F34}" type="parTrans" cxnId="{0A520940-1018-41B8-83CB-7A63C2FDD3D9}">
      <dgm:prSet/>
      <dgm:spPr/>
      <dgm:t>
        <a:bodyPr/>
        <a:lstStyle/>
        <a:p>
          <a:endParaRPr lang="en-US"/>
        </a:p>
      </dgm:t>
    </dgm:pt>
    <dgm:pt modelId="{CE391CCC-D08C-4B53-BA7F-EDDBBEA9AB07}" type="sibTrans" cxnId="{0A520940-1018-41B8-83CB-7A63C2FDD3D9}">
      <dgm:prSet/>
      <dgm:spPr/>
      <dgm:t>
        <a:bodyPr/>
        <a:lstStyle/>
        <a:p>
          <a:endParaRPr lang="en-US"/>
        </a:p>
      </dgm:t>
    </dgm:pt>
    <dgm:pt modelId="{EC79CCAE-5110-48F6-9AE6-019F73602BC5}">
      <dgm:prSet/>
      <dgm:spPr/>
      <dgm:t>
        <a:bodyPr/>
        <a:lstStyle/>
        <a:p>
          <a:pPr>
            <a:lnSpc>
              <a:spcPct val="100000"/>
            </a:lnSpc>
            <a:defRPr b="1"/>
          </a:pPr>
          <a:r>
            <a:rPr lang="en-US"/>
            <a:t>QI Support</a:t>
          </a:r>
        </a:p>
      </dgm:t>
    </dgm:pt>
    <dgm:pt modelId="{A324855A-B167-4647-B304-CB21930224E4}" type="parTrans" cxnId="{0AD9A814-2777-448F-8888-2A545FECBEE2}">
      <dgm:prSet/>
      <dgm:spPr/>
      <dgm:t>
        <a:bodyPr/>
        <a:lstStyle/>
        <a:p>
          <a:endParaRPr lang="en-US"/>
        </a:p>
      </dgm:t>
    </dgm:pt>
    <dgm:pt modelId="{E624BFD1-CF4C-445D-88B1-875C0D7AD488}" type="sibTrans" cxnId="{0AD9A814-2777-448F-8888-2A545FECBEE2}">
      <dgm:prSet/>
      <dgm:spPr/>
      <dgm:t>
        <a:bodyPr/>
        <a:lstStyle/>
        <a:p>
          <a:endParaRPr lang="en-US"/>
        </a:p>
      </dgm:t>
    </dgm:pt>
    <dgm:pt modelId="{D02C7D0D-E6AC-40F8-99E2-16E86FD0DB8E}">
      <dgm:prSet/>
      <dgm:spPr/>
      <dgm:t>
        <a:bodyPr/>
        <a:lstStyle/>
        <a:p>
          <a:pPr>
            <a:lnSpc>
              <a:spcPct val="100000"/>
            </a:lnSpc>
          </a:pPr>
          <a:r>
            <a:rPr lang="en-US" b="0">
              <a:solidFill>
                <a:srgbClr val="000000"/>
              </a:solidFill>
              <a:latin typeface="Calibri" panose="020F0502020204030204"/>
            </a:rPr>
            <a:t>Quarterly</a:t>
          </a:r>
          <a:r>
            <a:rPr lang="en-US" b="0">
              <a:solidFill>
                <a:srgbClr val="000000"/>
              </a:solidFill>
            </a:rPr>
            <a:t> outreach from ILPQC</a:t>
          </a:r>
        </a:p>
      </dgm:t>
    </dgm:pt>
    <dgm:pt modelId="{C2960A4A-50EB-4B85-8A14-495A8711C38A}" type="parTrans" cxnId="{5EDA28F8-5FA7-4DE3-B299-27B03CA4901B}">
      <dgm:prSet/>
      <dgm:spPr/>
      <dgm:t>
        <a:bodyPr/>
        <a:lstStyle/>
        <a:p>
          <a:endParaRPr lang="en-US"/>
        </a:p>
      </dgm:t>
    </dgm:pt>
    <dgm:pt modelId="{4861975A-E2E7-4694-B5EA-F4E4FCA6DE33}" type="sibTrans" cxnId="{5EDA28F8-5FA7-4DE3-B299-27B03CA4901B}">
      <dgm:prSet/>
      <dgm:spPr/>
      <dgm:t>
        <a:bodyPr/>
        <a:lstStyle/>
        <a:p>
          <a:endParaRPr lang="en-US"/>
        </a:p>
      </dgm:t>
    </dgm:pt>
    <dgm:pt modelId="{3571E729-076F-461E-9331-4C0348EC85A2}">
      <dgm:prSet/>
      <dgm:spPr/>
      <dgm:t>
        <a:bodyPr/>
        <a:lstStyle/>
        <a:p>
          <a:pPr>
            <a:lnSpc>
              <a:spcPct val="100000"/>
            </a:lnSpc>
          </a:pPr>
          <a:r>
            <a:rPr lang="en-US" b="0">
              <a:solidFill>
                <a:srgbClr val="000000"/>
              </a:solidFill>
            </a:rPr>
            <a:t>1-1 QI Support Meetings</a:t>
          </a:r>
        </a:p>
      </dgm:t>
    </dgm:pt>
    <dgm:pt modelId="{88795295-174A-4135-8136-2722963A907C}" type="parTrans" cxnId="{EDC4D748-E2EA-405D-AF07-45CC33B607BE}">
      <dgm:prSet/>
      <dgm:spPr/>
      <dgm:t>
        <a:bodyPr/>
        <a:lstStyle/>
        <a:p>
          <a:endParaRPr lang="en-US"/>
        </a:p>
      </dgm:t>
    </dgm:pt>
    <dgm:pt modelId="{88BFD4C6-8563-4082-8B3E-1DD6681F7CC3}" type="sibTrans" cxnId="{EDC4D748-E2EA-405D-AF07-45CC33B607BE}">
      <dgm:prSet/>
      <dgm:spPr/>
      <dgm:t>
        <a:bodyPr/>
        <a:lstStyle/>
        <a:p>
          <a:endParaRPr lang="en-US"/>
        </a:p>
      </dgm:t>
    </dgm:pt>
    <dgm:pt modelId="{0A6077B7-F76A-4117-8FF0-6C4F5F557FA1}">
      <dgm:prSet phldr="0"/>
      <dgm:spPr/>
      <dgm:t>
        <a:bodyPr/>
        <a:lstStyle/>
        <a:p>
          <a:pPr>
            <a:lnSpc>
              <a:spcPct val="100000"/>
            </a:lnSpc>
          </a:pPr>
          <a:r>
            <a:rPr lang="en-US" b="0"/>
            <a:t>Real-time</a:t>
          </a:r>
          <a:r>
            <a:rPr lang="en-US" b="0">
              <a:latin typeface="Calibri" panose="020F0502020204030204"/>
            </a:rPr>
            <a:t> data</a:t>
          </a:r>
          <a:r>
            <a:rPr lang="en-US" b="0"/>
            <a:t> reports for teams to compare data across time &amp; hospitals</a:t>
          </a:r>
          <a:endParaRPr lang="en-US" b="0">
            <a:latin typeface="Calibri" panose="020F0502020204030204"/>
          </a:endParaRPr>
        </a:p>
      </dgm:t>
    </dgm:pt>
    <dgm:pt modelId="{CB5ABE78-0875-4D3A-9CEC-FACE4C09903F}" type="parTrans" cxnId="{CA4868EA-9828-4F6A-9AFD-BCC73B1B084A}">
      <dgm:prSet/>
      <dgm:spPr/>
    </dgm:pt>
    <dgm:pt modelId="{F0143A36-66C6-4738-B8B2-498D7B3B46BD}" type="sibTrans" cxnId="{CA4868EA-9828-4F6A-9AFD-BCC73B1B084A}">
      <dgm:prSet/>
      <dgm:spPr/>
    </dgm:pt>
    <dgm:pt modelId="{3EDE1430-F944-463F-B159-21FBB86522D6}">
      <dgm:prSet phldr="0"/>
      <dgm:spPr/>
      <dgm:t>
        <a:bodyPr/>
        <a:lstStyle/>
        <a:p>
          <a:pPr>
            <a:lnSpc>
              <a:spcPct val="100000"/>
            </a:lnSpc>
          </a:pPr>
          <a:r>
            <a:rPr lang="en-US" b="0"/>
            <a:t>Data system training calls</a:t>
          </a:r>
          <a:endParaRPr lang="en-US"/>
        </a:p>
      </dgm:t>
    </dgm:pt>
    <dgm:pt modelId="{F462BB3E-A6D8-4BA9-B051-CD483A708BA4}" type="parTrans" cxnId="{2D49C1C4-7E76-407B-994D-0045F39328E2}">
      <dgm:prSet/>
      <dgm:spPr/>
    </dgm:pt>
    <dgm:pt modelId="{68E51A5F-F4BB-49F6-B59B-B30BE912FCFA}" type="sibTrans" cxnId="{2D49C1C4-7E76-407B-994D-0045F39328E2}">
      <dgm:prSet/>
      <dgm:spPr/>
    </dgm:pt>
    <dgm:pt modelId="{A2743575-5E62-4C11-8902-0EEE70DC9D14}">
      <dgm:prSet phldr="0"/>
      <dgm:spPr/>
      <dgm:t>
        <a:bodyPr/>
        <a:lstStyle/>
        <a:p>
          <a:pPr>
            <a:lnSpc>
              <a:spcPct val="100000"/>
            </a:lnSpc>
          </a:pPr>
          <a:r>
            <a:rPr lang="en-US" b="0"/>
            <a:t> ILPQC events</a:t>
          </a:r>
        </a:p>
      </dgm:t>
    </dgm:pt>
    <dgm:pt modelId="{71D7E33E-1EA6-4035-91C2-13E6FFBA3965}" type="parTrans" cxnId="{8412CFDE-A919-4E64-BDEE-9AAB026F3866}">
      <dgm:prSet/>
      <dgm:spPr/>
    </dgm:pt>
    <dgm:pt modelId="{2F015E2E-6E3D-4CA8-A511-41C0627565E0}" type="sibTrans" cxnId="{8412CFDE-A919-4E64-BDEE-9AAB026F3866}">
      <dgm:prSet/>
      <dgm:spPr/>
    </dgm:pt>
    <dgm:pt modelId="{702F3DAF-FD51-4CA4-9AFD-13177E6DFC5A}">
      <dgm:prSet phldr="0"/>
      <dgm:spPr/>
      <dgm:t>
        <a:bodyPr/>
        <a:lstStyle/>
        <a:p>
          <a:r>
            <a:rPr lang="en-US" b="0"/>
            <a:t>Spring Face-to-Face Meetings</a:t>
          </a:r>
          <a:endParaRPr lang="en-US" b="0">
            <a:latin typeface="Calibri" panose="020F0502020204030204"/>
          </a:endParaRPr>
        </a:p>
      </dgm:t>
    </dgm:pt>
    <dgm:pt modelId="{CEA56E37-762A-4A0F-9012-25922D6081E6}" type="parTrans" cxnId="{D1FC2DBD-9818-49D0-AAEA-3483D666EC3D}">
      <dgm:prSet/>
      <dgm:spPr/>
    </dgm:pt>
    <dgm:pt modelId="{C6F55F91-728C-48B7-AC95-E5F232FFD2AD}" type="sibTrans" cxnId="{D1FC2DBD-9818-49D0-AAEA-3483D666EC3D}">
      <dgm:prSet/>
      <dgm:spPr/>
    </dgm:pt>
    <dgm:pt modelId="{C6869FFC-1886-4EE0-B720-39D9F782CE0E}">
      <dgm:prSet phldr="0"/>
      <dgm:spPr/>
      <dgm:t>
        <a:bodyPr/>
        <a:lstStyle/>
        <a:p>
          <a:r>
            <a:rPr lang="en-US" b="0"/>
            <a:t>Fall Annual Conference</a:t>
          </a:r>
          <a:r>
            <a:rPr lang="en-US" b="0">
              <a:latin typeface="Calibri" panose="020F0502020204030204"/>
            </a:rPr>
            <a:t> </a:t>
          </a:r>
        </a:p>
      </dgm:t>
    </dgm:pt>
    <dgm:pt modelId="{E2345F22-D743-4D34-8D74-50A24FC539C6}" type="parTrans" cxnId="{9CDE6D13-AEF8-4E11-A3D5-87EB40DD5820}">
      <dgm:prSet/>
      <dgm:spPr/>
    </dgm:pt>
    <dgm:pt modelId="{232DF8D7-73F9-410E-B8F3-3BE553D40ECF}" type="sibTrans" cxnId="{9CDE6D13-AEF8-4E11-A3D5-87EB40DD5820}">
      <dgm:prSet/>
      <dgm:spPr/>
    </dgm:pt>
    <dgm:pt modelId="{9CB5B86E-F4EA-44BF-B3F1-C9FBF559B0C5}">
      <dgm:prSet phldr="0"/>
      <dgm:spPr/>
      <dgm:t>
        <a:bodyPr/>
        <a:lstStyle/>
        <a:p>
          <a:pPr>
            <a:lnSpc>
              <a:spcPct val="100000"/>
            </a:lnSpc>
          </a:pPr>
          <a:r>
            <a:rPr lang="en-US" b="0"/>
            <a:t> Grand Rounds presentations</a:t>
          </a:r>
          <a:endParaRPr lang="en-US"/>
        </a:p>
      </dgm:t>
    </dgm:pt>
    <dgm:pt modelId="{C3DB2EE7-CB13-488E-AB9C-D2CDC35279CC}" type="parTrans" cxnId="{883D75DB-F978-405E-9E55-F3EF2A88EEF3}">
      <dgm:prSet/>
      <dgm:spPr/>
    </dgm:pt>
    <dgm:pt modelId="{F6B0A312-D2A3-40EE-9B0F-ED4B5965F6CD}" type="sibTrans" cxnId="{883D75DB-F978-405E-9E55-F3EF2A88EEF3}">
      <dgm:prSet/>
      <dgm:spPr/>
    </dgm:pt>
    <dgm:pt modelId="{4D9A4395-3593-467B-8BE3-D143D616DEBF}">
      <dgm:prSet phldr="0"/>
      <dgm:spPr/>
      <dgm:t>
        <a:bodyPr/>
        <a:lstStyle/>
        <a:p>
          <a:pPr>
            <a:lnSpc>
              <a:spcPct val="100000"/>
            </a:lnSpc>
          </a:pPr>
          <a:r>
            <a:rPr lang="en-US" b="0">
              <a:solidFill>
                <a:srgbClr val="000000"/>
              </a:solidFill>
              <a:latin typeface="Calibri" panose="020F0502020204030204"/>
            </a:rPr>
            <a:t>Key Player site visits</a:t>
          </a:r>
        </a:p>
      </dgm:t>
    </dgm:pt>
    <dgm:pt modelId="{E64A6090-F409-4A81-95F9-B40BB772ACDE}" type="parTrans" cxnId="{7DDCC9B9-DA47-4111-80F0-038D267E1C05}">
      <dgm:prSet/>
      <dgm:spPr/>
    </dgm:pt>
    <dgm:pt modelId="{F1C9ABAD-34BC-4B7D-A3D0-3C8096A95C2D}" type="sibTrans" cxnId="{7DDCC9B9-DA47-4111-80F0-038D267E1C05}">
      <dgm:prSet/>
      <dgm:spPr/>
    </dgm:pt>
    <dgm:pt modelId="{0E33A53A-C325-4733-BFCD-A947AA22734E}">
      <dgm:prSet phldr="0"/>
      <dgm:spPr/>
      <dgm:t>
        <a:bodyPr/>
        <a:lstStyle/>
        <a:p>
          <a:pPr>
            <a:lnSpc>
              <a:spcPct val="100000"/>
            </a:lnSpc>
          </a:pPr>
          <a:r>
            <a:rPr lang="en-US" b="0">
              <a:solidFill>
                <a:srgbClr val="000000"/>
              </a:solidFill>
            </a:rPr>
            <a:t>Quarterly QI support calls to individual teams</a:t>
          </a:r>
          <a:r>
            <a:rPr lang="en-US" b="0">
              <a:solidFill>
                <a:srgbClr val="000000"/>
              </a:solidFill>
              <a:latin typeface="Calibri" panose="020F0502020204030204"/>
            </a:rPr>
            <a:t> </a:t>
          </a:r>
        </a:p>
      </dgm:t>
    </dgm:pt>
    <dgm:pt modelId="{447BCBCB-1F8B-4447-88C9-5A943F26C1B4}" type="parTrans" cxnId="{0D20E4B9-D8C4-4D09-A22D-709A233A3AAF}">
      <dgm:prSet/>
      <dgm:spPr/>
    </dgm:pt>
    <dgm:pt modelId="{60192EED-70BF-44A0-A992-DC04B074BBC0}" type="sibTrans" cxnId="{0D20E4B9-D8C4-4D09-A22D-709A233A3AAF}">
      <dgm:prSet/>
      <dgm:spPr/>
    </dgm:pt>
    <dgm:pt modelId="{B2154B3C-6060-46AA-B23C-09D8647CFB7C}">
      <dgm:prSet phldr="0"/>
      <dgm:spPr/>
      <dgm:t>
        <a:bodyPr/>
        <a:lstStyle/>
        <a:p>
          <a:pPr>
            <a:lnSpc>
              <a:spcPct val="100000"/>
            </a:lnSpc>
          </a:pPr>
          <a:r>
            <a:rPr lang="en-US" b="0">
              <a:solidFill>
                <a:srgbClr val="000000"/>
              </a:solidFill>
            </a:rPr>
            <a:t>Small group QI topic calls as needed</a:t>
          </a:r>
        </a:p>
      </dgm:t>
    </dgm:pt>
    <dgm:pt modelId="{8D7D446C-4D1A-47F4-8004-0F6E8D8707AC}" type="parTrans" cxnId="{F70FEE66-7BF2-4684-B625-2B75DDEDDF97}">
      <dgm:prSet/>
      <dgm:spPr/>
    </dgm:pt>
    <dgm:pt modelId="{875E6017-BF7D-4744-AF0B-BC792D787804}" type="sibTrans" cxnId="{F70FEE66-7BF2-4684-B625-2B75DDEDDF97}">
      <dgm:prSet/>
      <dgm:spPr/>
    </dgm:pt>
    <dgm:pt modelId="{1651B58A-4E08-4B4A-AE77-CC82703192C0}" type="pres">
      <dgm:prSet presAssocID="{8430BAD0-BABA-45AA-9F9C-64365E6BFC3B}" presName="root" presStyleCnt="0">
        <dgm:presLayoutVars>
          <dgm:dir/>
          <dgm:resizeHandles val="exact"/>
        </dgm:presLayoutVars>
      </dgm:prSet>
      <dgm:spPr/>
    </dgm:pt>
    <dgm:pt modelId="{16D72F8F-CFA8-41D8-AFA7-5861D49F7000}" type="pres">
      <dgm:prSet presAssocID="{953405DE-6267-4957-8F92-170837222670}" presName="compNode" presStyleCnt="0"/>
      <dgm:spPr/>
    </dgm:pt>
    <dgm:pt modelId="{CAB7F7FF-D825-4E5D-9D5B-AB2877DE1C42}" type="pres">
      <dgm:prSet presAssocID="{953405DE-6267-4957-8F92-17083722267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4D801FEC-12CB-46D6-824C-C566C5711347}" type="pres">
      <dgm:prSet presAssocID="{953405DE-6267-4957-8F92-170837222670}" presName="iconSpace" presStyleCnt="0"/>
      <dgm:spPr/>
    </dgm:pt>
    <dgm:pt modelId="{4462BD9C-A33E-434C-BDD3-AE9F5CCDA835}" type="pres">
      <dgm:prSet presAssocID="{953405DE-6267-4957-8F92-170837222670}" presName="parTx" presStyleLbl="revTx" presStyleIdx="0" presStyleCnt="6">
        <dgm:presLayoutVars>
          <dgm:chMax val="0"/>
          <dgm:chPref val="0"/>
        </dgm:presLayoutVars>
      </dgm:prSet>
      <dgm:spPr/>
    </dgm:pt>
    <dgm:pt modelId="{E41B91A9-8264-4E06-A95D-D74765AB352F}" type="pres">
      <dgm:prSet presAssocID="{953405DE-6267-4957-8F92-170837222670}" presName="txSpace" presStyleCnt="0"/>
      <dgm:spPr/>
    </dgm:pt>
    <dgm:pt modelId="{3101DFFC-2148-4129-B07B-84D5C052CF49}" type="pres">
      <dgm:prSet presAssocID="{953405DE-6267-4957-8F92-170837222670}" presName="desTx" presStyleLbl="revTx" presStyleIdx="1" presStyleCnt="6">
        <dgm:presLayoutVars/>
      </dgm:prSet>
      <dgm:spPr/>
    </dgm:pt>
    <dgm:pt modelId="{C647F7C5-64DE-4330-A219-7F4C42F4257D}" type="pres">
      <dgm:prSet presAssocID="{3CAC77EF-B213-49C9-A943-5022AF93E48C}" presName="sibTrans" presStyleCnt="0"/>
      <dgm:spPr/>
    </dgm:pt>
    <dgm:pt modelId="{79ADEB9B-477E-462D-8B55-D6C1D3FBB481}" type="pres">
      <dgm:prSet presAssocID="{F5C98AD1-F451-4AFC-AFF2-00E57C85D549}" presName="compNode" presStyleCnt="0"/>
      <dgm:spPr/>
    </dgm:pt>
    <dgm:pt modelId="{74B852B9-9EFE-4F4F-8DA8-5A6AA2619D5B}" type="pres">
      <dgm:prSet presAssocID="{F5C98AD1-F451-4AFC-AFF2-00E57C85D54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7E5FC3FA-AB46-4F33-AB46-A6D0035587F6}" type="pres">
      <dgm:prSet presAssocID="{F5C98AD1-F451-4AFC-AFF2-00E57C85D549}" presName="iconSpace" presStyleCnt="0"/>
      <dgm:spPr/>
    </dgm:pt>
    <dgm:pt modelId="{5FF94DEC-38DE-4948-85C8-9110C557CCCB}" type="pres">
      <dgm:prSet presAssocID="{F5C98AD1-F451-4AFC-AFF2-00E57C85D549}" presName="parTx" presStyleLbl="revTx" presStyleIdx="2" presStyleCnt="6">
        <dgm:presLayoutVars>
          <dgm:chMax val="0"/>
          <dgm:chPref val="0"/>
        </dgm:presLayoutVars>
      </dgm:prSet>
      <dgm:spPr/>
    </dgm:pt>
    <dgm:pt modelId="{32F6D08D-8D21-4700-A61D-BBEDA1622807}" type="pres">
      <dgm:prSet presAssocID="{F5C98AD1-F451-4AFC-AFF2-00E57C85D549}" presName="txSpace" presStyleCnt="0"/>
      <dgm:spPr/>
    </dgm:pt>
    <dgm:pt modelId="{FC8A97E8-39A9-46D2-91B0-8AAE8886CDA5}" type="pres">
      <dgm:prSet presAssocID="{F5C98AD1-F451-4AFC-AFF2-00E57C85D549}" presName="desTx" presStyleLbl="revTx" presStyleIdx="3" presStyleCnt="6">
        <dgm:presLayoutVars/>
      </dgm:prSet>
      <dgm:spPr/>
    </dgm:pt>
    <dgm:pt modelId="{976714AD-DC7F-4334-A446-8439D13BA5E7}" type="pres">
      <dgm:prSet presAssocID="{C563F9B8-97C0-4A90-8E76-539A82FE8446}" presName="sibTrans" presStyleCnt="0"/>
      <dgm:spPr/>
    </dgm:pt>
    <dgm:pt modelId="{3D880733-A1D4-4235-9A5D-D9B65BD65535}" type="pres">
      <dgm:prSet presAssocID="{EC79CCAE-5110-48F6-9AE6-019F73602BC5}" presName="compNode" presStyleCnt="0"/>
      <dgm:spPr/>
    </dgm:pt>
    <dgm:pt modelId="{5BF6BBB7-32AF-4CBF-AB04-30FCA14B0B79}" type="pres">
      <dgm:prSet presAssocID="{EC79CCAE-5110-48F6-9AE6-019F73602BC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eting"/>
        </a:ext>
      </dgm:extLst>
    </dgm:pt>
    <dgm:pt modelId="{7DE8F725-83AF-4A37-B7E0-17318FA1E0CD}" type="pres">
      <dgm:prSet presAssocID="{EC79CCAE-5110-48F6-9AE6-019F73602BC5}" presName="iconSpace" presStyleCnt="0"/>
      <dgm:spPr/>
    </dgm:pt>
    <dgm:pt modelId="{194CC0D0-8D84-4D09-83FE-C3EC7A75C37F}" type="pres">
      <dgm:prSet presAssocID="{EC79CCAE-5110-48F6-9AE6-019F73602BC5}" presName="parTx" presStyleLbl="revTx" presStyleIdx="4" presStyleCnt="6">
        <dgm:presLayoutVars>
          <dgm:chMax val="0"/>
          <dgm:chPref val="0"/>
        </dgm:presLayoutVars>
      </dgm:prSet>
      <dgm:spPr/>
    </dgm:pt>
    <dgm:pt modelId="{B3794AD9-DD08-464B-9561-CE1597CF1EB6}" type="pres">
      <dgm:prSet presAssocID="{EC79CCAE-5110-48F6-9AE6-019F73602BC5}" presName="txSpace" presStyleCnt="0"/>
      <dgm:spPr/>
    </dgm:pt>
    <dgm:pt modelId="{7C3F0027-033F-4438-954B-4F73346E60F5}" type="pres">
      <dgm:prSet presAssocID="{EC79CCAE-5110-48F6-9AE6-019F73602BC5}" presName="desTx" presStyleLbl="revTx" presStyleIdx="5" presStyleCnt="6">
        <dgm:presLayoutVars/>
      </dgm:prSet>
      <dgm:spPr/>
    </dgm:pt>
  </dgm:ptLst>
  <dgm:cxnLst>
    <dgm:cxn modelId="{9CDE6D13-AEF8-4E11-A3D5-87EB40DD5820}" srcId="{A2743575-5E62-4C11-8902-0EEE70DC9D14}" destId="{C6869FFC-1886-4EE0-B720-39D9F782CE0E}" srcOrd="1" destOrd="0" parTransId="{E2345F22-D743-4D34-8D74-50A24FC539C6}" sibTransId="{232DF8D7-73F9-410E-B8F3-3BE553D40ECF}"/>
    <dgm:cxn modelId="{26A9B113-3FB3-46D0-83B9-D8BD89EEEB05}" srcId="{8430BAD0-BABA-45AA-9F9C-64365E6BFC3B}" destId="{F5C98AD1-F451-4AFC-AFF2-00E57C85D549}" srcOrd="1" destOrd="0" parTransId="{B4CCB3AC-84A7-439F-AC56-92A554BFCD59}" sibTransId="{C563F9B8-97C0-4A90-8E76-539A82FE8446}"/>
    <dgm:cxn modelId="{0AD9A814-2777-448F-8888-2A545FECBEE2}" srcId="{8430BAD0-BABA-45AA-9F9C-64365E6BFC3B}" destId="{EC79CCAE-5110-48F6-9AE6-019F73602BC5}" srcOrd="2" destOrd="0" parTransId="{A324855A-B167-4647-B304-CB21930224E4}" sibTransId="{E624BFD1-CF4C-445D-88B1-875C0D7AD488}"/>
    <dgm:cxn modelId="{0A520940-1018-41B8-83CB-7A63C2FDD3D9}" srcId="{F5C98AD1-F451-4AFC-AFF2-00E57C85D549}" destId="{64B76EAC-9C1C-4DC4-82AF-BF939A36121C}" srcOrd="0" destOrd="0" parTransId="{DA007117-E0DE-44F1-A85D-3C51CAF69F34}" sibTransId="{CE391CCC-D08C-4B53-BA7F-EDDBBEA9AB07}"/>
    <dgm:cxn modelId="{DA1C7461-8C2D-4AFC-B1DF-23C353C8194E}" type="presOf" srcId="{C6869FFC-1886-4EE0-B720-39D9F782CE0E}" destId="{3101DFFC-2148-4129-B07B-84D5C052CF49}" srcOrd="0" destOrd="5" presId="urn:microsoft.com/office/officeart/2018/5/layout/CenteredIconLabelDescriptionList"/>
    <dgm:cxn modelId="{CDAC9941-4A14-4939-8488-C44F12999E61}" type="presOf" srcId="{3EDE1430-F944-463F-B159-21FBB86522D6}" destId="{FC8A97E8-39A9-46D2-91B0-8AAE8886CDA5}" srcOrd="0" destOrd="2" presId="urn:microsoft.com/office/officeart/2018/5/layout/CenteredIconLabelDescriptionList"/>
    <dgm:cxn modelId="{C2C60466-F0CE-416B-892B-80E7BB018A3C}" type="presOf" srcId="{953405DE-6267-4957-8F92-170837222670}" destId="{4462BD9C-A33E-434C-BDD3-AE9F5CCDA835}" srcOrd="0" destOrd="0" presId="urn:microsoft.com/office/officeart/2018/5/layout/CenteredIconLabelDescriptionList"/>
    <dgm:cxn modelId="{F70FEE66-7BF2-4684-B625-2B75DDEDDF97}" srcId="{EC79CCAE-5110-48F6-9AE6-019F73602BC5}" destId="{B2154B3C-6060-46AA-B23C-09D8647CFB7C}" srcOrd="4" destOrd="0" parTransId="{8D7D446C-4D1A-47F4-8004-0F6E8D8707AC}" sibTransId="{875E6017-BF7D-4744-AF0B-BC792D787804}"/>
    <dgm:cxn modelId="{54206968-15E7-482E-9BB6-5E8A0FE82680}" type="presOf" srcId="{8430BAD0-BABA-45AA-9F9C-64365E6BFC3B}" destId="{1651B58A-4E08-4B4A-AE77-CC82703192C0}" srcOrd="0" destOrd="0" presId="urn:microsoft.com/office/officeart/2018/5/layout/CenteredIconLabelDescriptionList"/>
    <dgm:cxn modelId="{EDC4D748-E2EA-405D-AF07-45CC33B607BE}" srcId="{EC79CCAE-5110-48F6-9AE6-019F73602BC5}" destId="{3571E729-076F-461E-9331-4C0348EC85A2}" srcOrd="1" destOrd="0" parTransId="{88795295-174A-4135-8136-2722963A907C}" sibTransId="{88BFD4C6-8563-4082-8B3E-1DD6681F7CC3}"/>
    <dgm:cxn modelId="{F8243E6B-E40A-4F40-94BD-EE6F76D907EF}" type="presOf" srcId="{0A6077B7-F76A-4117-8FF0-6C4F5F557FA1}" destId="{FC8A97E8-39A9-46D2-91B0-8AAE8886CDA5}" srcOrd="0" destOrd="1" presId="urn:microsoft.com/office/officeart/2018/5/layout/CenteredIconLabelDescriptionList"/>
    <dgm:cxn modelId="{B217414D-8664-44F6-B2A9-004F43B5B62B}" type="presOf" srcId="{D02C7D0D-E6AC-40F8-99E2-16E86FD0DB8E}" destId="{7C3F0027-033F-4438-954B-4F73346E60F5}" srcOrd="0" destOrd="0" presId="urn:microsoft.com/office/officeart/2018/5/layout/CenteredIconLabelDescriptionList"/>
    <dgm:cxn modelId="{3FB2464F-BA5D-45D8-A1E8-51690B328775}" type="presOf" srcId="{A2743575-5E62-4C11-8902-0EEE70DC9D14}" destId="{3101DFFC-2148-4129-B07B-84D5C052CF49}" srcOrd="0" destOrd="3" presId="urn:microsoft.com/office/officeart/2018/5/layout/CenteredIconLabelDescriptionList"/>
    <dgm:cxn modelId="{CD325D7F-6DAA-4207-995A-7346E37A90EB}" type="presOf" srcId="{D8BB893E-8006-46B3-81EA-4F3DC95B12DE}" destId="{3101DFFC-2148-4129-B07B-84D5C052CF49}" srcOrd="0" destOrd="2" presId="urn:microsoft.com/office/officeart/2018/5/layout/CenteredIconLabelDescriptionList"/>
    <dgm:cxn modelId="{A2875581-AB1D-48A7-8367-9C6397E7DD4B}" srcId="{8430BAD0-BABA-45AA-9F9C-64365E6BFC3B}" destId="{953405DE-6267-4957-8F92-170837222670}" srcOrd="0" destOrd="0" parTransId="{BC2BB700-FE9B-4EC9-8354-3B9299A55EEE}" sibTransId="{3CAC77EF-B213-49C9-A943-5022AF93E48C}"/>
    <dgm:cxn modelId="{227D9287-C5B4-44D4-8E1C-566317EBB3D1}" type="presOf" srcId="{3571E729-076F-461E-9331-4C0348EC85A2}" destId="{7C3F0027-033F-4438-954B-4F73346E60F5}" srcOrd="0" destOrd="1" presId="urn:microsoft.com/office/officeart/2018/5/layout/CenteredIconLabelDescriptionList"/>
    <dgm:cxn modelId="{6101F29C-8271-416F-BBF8-0804EE444D10}" type="presOf" srcId="{EC79CCAE-5110-48F6-9AE6-019F73602BC5}" destId="{194CC0D0-8D84-4D09-83FE-C3EC7A75C37F}" srcOrd="0" destOrd="0" presId="urn:microsoft.com/office/officeart/2018/5/layout/CenteredIconLabelDescriptionList"/>
    <dgm:cxn modelId="{EBA0F39E-7329-4BD3-9531-1A1BC8E176E6}" srcId="{953405DE-6267-4957-8F92-170837222670}" destId="{66F4987E-1719-4A03-8DD4-EF3646AAAEB1}" srcOrd="1" destOrd="0" parTransId="{FCC193A1-B9FA-4477-AAE4-8B035E4AFB45}" sibTransId="{2AA6BAB7-C382-4393-9859-4C7C3527CA9D}"/>
    <dgm:cxn modelId="{FAB608A2-426B-403B-902D-3B8AC0943E72}" type="presOf" srcId="{4D9A4395-3593-467B-8BE3-D143D616DEBF}" destId="{7C3F0027-033F-4438-954B-4F73346E60F5}" srcOrd="0" destOrd="2" presId="urn:microsoft.com/office/officeart/2018/5/layout/CenteredIconLabelDescriptionList"/>
    <dgm:cxn modelId="{177C45A2-9977-4A24-ACA6-386682F85D28}" type="presOf" srcId="{0E33A53A-C325-4733-BFCD-A947AA22734E}" destId="{7C3F0027-033F-4438-954B-4F73346E60F5}" srcOrd="0" destOrd="3" presId="urn:microsoft.com/office/officeart/2018/5/layout/CenteredIconLabelDescriptionList"/>
    <dgm:cxn modelId="{A8BFD3AE-0A35-4A7C-8A79-F67AE1F73E43}" srcId="{953405DE-6267-4957-8F92-170837222670}" destId="{D8BB893E-8006-46B3-81EA-4F3DC95B12DE}" srcOrd="2" destOrd="0" parTransId="{A4D9BC1F-0478-4848-A307-350FC71BAE7D}" sibTransId="{E99C7F3C-0138-405F-B16F-A0579CF1B6AF}"/>
    <dgm:cxn modelId="{7DDCC9B9-DA47-4111-80F0-038D267E1C05}" srcId="{EC79CCAE-5110-48F6-9AE6-019F73602BC5}" destId="{4D9A4395-3593-467B-8BE3-D143D616DEBF}" srcOrd="2" destOrd="0" parTransId="{E64A6090-F409-4A81-95F9-B40BB772ACDE}" sibTransId="{F1C9ABAD-34BC-4B7D-A3D0-3C8096A95C2D}"/>
    <dgm:cxn modelId="{0D20E4B9-D8C4-4D09-A22D-709A233A3AAF}" srcId="{EC79CCAE-5110-48F6-9AE6-019F73602BC5}" destId="{0E33A53A-C325-4733-BFCD-A947AA22734E}" srcOrd="3" destOrd="0" parTransId="{447BCBCB-1F8B-4447-88C9-5A943F26C1B4}" sibTransId="{60192EED-70BF-44A0-A992-DC04B074BBC0}"/>
    <dgm:cxn modelId="{721DEFBA-88AD-4782-B923-863BC45F43BC}" srcId="{953405DE-6267-4957-8F92-170837222670}" destId="{04019DCE-A8E9-448A-AC7D-A7A35D72ECEC}" srcOrd="0" destOrd="0" parTransId="{0F9E3096-2E25-466D-8358-2FCD0DE08D0E}" sibTransId="{18E994F0-03A4-4158-B838-842D5F2DCA4E}"/>
    <dgm:cxn modelId="{D1FC2DBD-9818-49D0-AAEA-3483D666EC3D}" srcId="{A2743575-5E62-4C11-8902-0EEE70DC9D14}" destId="{702F3DAF-FD51-4CA4-9AFD-13177E6DFC5A}" srcOrd="0" destOrd="0" parTransId="{CEA56E37-762A-4A0F-9012-25922D6081E6}" sibTransId="{C6F55F91-728C-48B7-AC95-E5F232FFD2AD}"/>
    <dgm:cxn modelId="{2D49C1C4-7E76-407B-994D-0045F39328E2}" srcId="{F5C98AD1-F451-4AFC-AFF2-00E57C85D549}" destId="{3EDE1430-F944-463F-B159-21FBB86522D6}" srcOrd="2" destOrd="0" parTransId="{F462BB3E-A6D8-4BA9-B051-CD483A708BA4}" sibTransId="{68E51A5F-F4BB-49F6-B59B-B30BE912FCFA}"/>
    <dgm:cxn modelId="{B53E40C7-B120-4EDB-A7EF-F7C0D870BC63}" type="presOf" srcId="{66F4987E-1719-4A03-8DD4-EF3646AAAEB1}" destId="{3101DFFC-2148-4129-B07B-84D5C052CF49}" srcOrd="0" destOrd="1" presId="urn:microsoft.com/office/officeart/2018/5/layout/CenteredIconLabelDescriptionList"/>
    <dgm:cxn modelId="{C9F902CA-F1FB-4E4B-936A-C5635EB2ABAF}" type="presOf" srcId="{9CB5B86E-F4EA-44BF-B3F1-C9FBF559B0C5}" destId="{3101DFFC-2148-4129-B07B-84D5C052CF49}" srcOrd="0" destOrd="6" presId="urn:microsoft.com/office/officeart/2018/5/layout/CenteredIconLabelDescriptionList"/>
    <dgm:cxn modelId="{10F7B1D7-517D-40F1-8442-8A80EA0451C2}" type="presOf" srcId="{B2154B3C-6060-46AA-B23C-09D8647CFB7C}" destId="{7C3F0027-033F-4438-954B-4F73346E60F5}" srcOrd="0" destOrd="4" presId="urn:microsoft.com/office/officeart/2018/5/layout/CenteredIconLabelDescriptionList"/>
    <dgm:cxn modelId="{883D75DB-F978-405E-9E55-F3EF2A88EEF3}" srcId="{953405DE-6267-4957-8F92-170837222670}" destId="{9CB5B86E-F4EA-44BF-B3F1-C9FBF559B0C5}" srcOrd="4" destOrd="0" parTransId="{C3DB2EE7-CB13-488E-AB9C-D2CDC35279CC}" sibTransId="{F6B0A312-D2A3-40EE-9B0F-ED4B5965F6CD}"/>
    <dgm:cxn modelId="{6FAD1DDC-48C0-444D-BA55-26A7FD58BBE3}" type="presOf" srcId="{F5C98AD1-F451-4AFC-AFF2-00E57C85D549}" destId="{5FF94DEC-38DE-4948-85C8-9110C557CCCB}" srcOrd="0" destOrd="0" presId="urn:microsoft.com/office/officeart/2018/5/layout/CenteredIconLabelDescriptionList"/>
    <dgm:cxn modelId="{8412CFDE-A919-4E64-BDEE-9AAB026F3866}" srcId="{953405DE-6267-4957-8F92-170837222670}" destId="{A2743575-5E62-4C11-8902-0EEE70DC9D14}" srcOrd="3" destOrd="0" parTransId="{71D7E33E-1EA6-4035-91C2-13E6FFBA3965}" sibTransId="{2F015E2E-6E3D-4CA8-A511-41C0627565E0}"/>
    <dgm:cxn modelId="{CA4868EA-9828-4F6A-9AFD-BCC73B1B084A}" srcId="{F5C98AD1-F451-4AFC-AFF2-00E57C85D549}" destId="{0A6077B7-F76A-4117-8FF0-6C4F5F557FA1}" srcOrd="1" destOrd="0" parTransId="{CB5ABE78-0875-4D3A-9CEC-FACE4C09903F}" sibTransId="{F0143A36-66C6-4738-B8B2-498D7B3B46BD}"/>
    <dgm:cxn modelId="{81D220F0-2FF6-4300-936E-CE321BC420B6}" type="presOf" srcId="{702F3DAF-FD51-4CA4-9AFD-13177E6DFC5A}" destId="{3101DFFC-2148-4129-B07B-84D5C052CF49}" srcOrd="0" destOrd="4" presId="urn:microsoft.com/office/officeart/2018/5/layout/CenteredIconLabelDescriptionList"/>
    <dgm:cxn modelId="{D88FDBF2-CD83-4234-811A-C044FD0C25AD}" type="presOf" srcId="{04019DCE-A8E9-448A-AC7D-A7A35D72ECEC}" destId="{3101DFFC-2148-4129-B07B-84D5C052CF49}" srcOrd="0" destOrd="0" presId="urn:microsoft.com/office/officeart/2018/5/layout/CenteredIconLabelDescriptionList"/>
    <dgm:cxn modelId="{5EDA28F8-5FA7-4DE3-B299-27B03CA4901B}" srcId="{EC79CCAE-5110-48F6-9AE6-019F73602BC5}" destId="{D02C7D0D-E6AC-40F8-99E2-16E86FD0DB8E}" srcOrd="0" destOrd="0" parTransId="{C2960A4A-50EB-4B85-8A14-495A8711C38A}" sibTransId="{4861975A-E2E7-4694-B5EA-F4E4FCA6DE33}"/>
    <dgm:cxn modelId="{432FDDFE-29D2-4010-9710-B0800E235444}" type="presOf" srcId="{64B76EAC-9C1C-4DC4-82AF-BF939A36121C}" destId="{FC8A97E8-39A9-46D2-91B0-8AAE8886CDA5}" srcOrd="0" destOrd="0" presId="urn:microsoft.com/office/officeart/2018/5/layout/CenteredIconLabelDescriptionList"/>
    <dgm:cxn modelId="{3E616DF4-E414-4C6C-9533-7B241EA98664}" type="presParOf" srcId="{1651B58A-4E08-4B4A-AE77-CC82703192C0}" destId="{16D72F8F-CFA8-41D8-AFA7-5861D49F7000}" srcOrd="0" destOrd="0" presId="urn:microsoft.com/office/officeart/2018/5/layout/CenteredIconLabelDescriptionList"/>
    <dgm:cxn modelId="{096F4B18-ACAD-4364-A23A-370AA9CE479A}" type="presParOf" srcId="{16D72F8F-CFA8-41D8-AFA7-5861D49F7000}" destId="{CAB7F7FF-D825-4E5D-9D5B-AB2877DE1C42}" srcOrd="0" destOrd="0" presId="urn:microsoft.com/office/officeart/2018/5/layout/CenteredIconLabelDescriptionList"/>
    <dgm:cxn modelId="{56A61E94-1A54-45D0-BC53-1828FA07EC27}" type="presParOf" srcId="{16D72F8F-CFA8-41D8-AFA7-5861D49F7000}" destId="{4D801FEC-12CB-46D6-824C-C566C5711347}" srcOrd="1" destOrd="0" presId="urn:microsoft.com/office/officeart/2018/5/layout/CenteredIconLabelDescriptionList"/>
    <dgm:cxn modelId="{828D1657-9640-42B8-AFEC-C920D0FF0019}" type="presParOf" srcId="{16D72F8F-CFA8-41D8-AFA7-5861D49F7000}" destId="{4462BD9C-A33E-434C-BDD3-AE9F5CCDA835}" srcOrd="2" destOrd="0" presId="urn:microsoft.com/office/officeart/2018/5/layout/CenteredIconLabelDescriptionList"/>
    <dgm:cxn modelId="{8A1143B5-9615-42BC-AE4B-CE7588288C88}" type="presParOf" srcId="{16D72F8F-CFA8-41D8-AFA7-5861D49F7000}" destId="{E41B91A9-8264-4E06-A95D-D74765AB352F}" srcOrd="3" destOrd="0" presId="urn:microsoft.com/office/officeart/2018/5/layout/CenteredIconLabelDescriptionList"/>
    <dgm:cxn modelId="{23BAFE20-BDAE-465A-AED5-AD858A9C1F12}" type="presParOf" srcId="{16D72F8F-CFA8-41D8-AFA7-5861D49F7000}" destId="{3101DFFC-2148-4129-B07B-84D5C052CF49}" srcOrd="4" destOrd="0" presId="urn:microsoft.com/office/officeart/2018/5/layout/CenteredIconLabelDescriptionList"/>
    <dgm:cxn modelId="{2DC9F743-699B-4C4E-89E6-696C8198C2F5}" type="presParOf" srcId="{1651B58A-4E08-4B4A-AE77-CC82703192C0}" destId="{C647F7C5-64DE-4330-A219-7F4C42F4257D}" srcOrd="1" destOrd="0" presId="urn:microsoft.com/office/officeart/2018/5/layout/CenteredIconLabelDescriptionList"/>
    <dgm:cxn modelId="{2A018572-440E-41D7-85E2-FE654A5D86F1}" type="presParOf" srcId="{1651B58A-4E08-4B4A-AE77-CC82703192C0}" destId="{79ADEB9B-477E-462D-8B55-D6C1D3FBB481}" srcOrd="2" destOrd="0" presId="urn:microsoft.com/office/officeart/2018/5/layout/CenteredIconLabelDescriptionList"/>
    <dgm:cxn modelId="{778744C5-9F65-4A41-B753-166B0F9A70AF}" type="presParOf" srcId="{79ADEB9B-477E-462D-8B55-D6C1D3FBB481}" destId="{74B852B9-9EFE-4F4F-8DA8-5A6AA2619D5B}" srcOrd="0" destOrd="0" presId="urn:microsoft.com/office/officeart/2018/5/layout/CenteredIconLabelDescriptionList"/>
    <dgm:cxn modelId="{C20D1DBF-28CE-49FB-BA8B-B774E56CB99D}" type="presParOf" srcId="{79ADEB9B-477E-462D-8B55-D6C1D3FBB481}" destId="{7E5FC3FA-AB46-4F33-AB46-A6D0035587F6}" srcOrd="1" destOrd="0" presId="urn:microsoft.com/office/officeart/2018/5/layout/CenteredIconLabelDescriptionList"/>
    <dgm:cxn modelId="{FFF6E0F5-7FA7-437A-8D7A-2A58C499A151}" type="presParOf" srcId="{79ADEB9B-477E-462D-8B55-D6C1D3FBB481}" destId="{5FF94DEC-38DE-4948-85C8-9110C557CCCB}" srcOrd="2" destOrd="0" presId="urn:microsoft.com/office/officeart/2018/5/layout/CenteredIconLabelDescriptionList"/>
    <dgm:cxn modelId="{4639A8F7-B332-4F71-8D61-7423A067BC68}" type="presParOf" srcId="{79ADEB9B-477E-462D-8B55-D6C1D3FBB481}" destId="{32F6D08D-8D21-4700-A61D-BBEDA1622807}" srcOrd="3" destOrd="0" presId="urn:microsoft.com/office/officeart/2018/5/layout/CenteredIconLabelDescriptionList"/>
    <dgm:cxn modelId="{874E3AEF-754C-4372-8CAE-1C7BE00EB55F}" type="presParOf" srcId="{79ADEB9B-477E-462D-8B55-D6C1D3FBB481}" destId="{FC8A97E8-39A9-46D2-91B0-8AAE8886CDA5}" srcOrd="4" destOrd="0" presId="urn:microsoft.com/office/officeart/2018/5/layout/CenteredIconLabelDescriptionList"/>
    <dgm:cxn modelId="{0124117D-A5EC-4325-825A-72134E643F39}" type="presParOf" srcId="{1651B58A-4E08-4B4A-AE77-CC82703192C0}" destId="{976714AD-DC7F-4334-A446-8439D13BA5E7}" srcOrd="3" destOrd="0" presId="urn:microsoft.com/office/officeart/2018/5/layout/CenteredIconLabelDescriptionList"/>
    <dgm:cxn modelId="{B4DBC144-6084-42EF-83C5-AF10B077E450}" type="presParOf" srcId="{1651B58A-4E08-4B4A-AE77-CC82703192C0}" destId="{3D880733-A1D4-4235-9A5D-D9B65BD65535}" srcOrd="4" destOrd="0" presId="urn:microsoft.com/office/officeart/2018/5/layout/CenteredIconLabelDescriptionList"/>
    <dgm:cxn modelId="{1F57B75D-D4F4-45E6-A4E6-57FB910FD0E8}" type="presParOf" srcId="{3D880733-A1D4-4235-9A5D-D9B65BD65535}" destId="{5BF6BBB7-32AF-4CBF-AB04-30FCA14B0B79}" srcOrd="0" destOrd="0" presId="urn:microsoft.com/office/officeart/2018/5/layout/CenteredIconLabelDescriptionList"/>
    <dgm:cxn modelId="{7C3A2581-8350-4523-BFB4-FD6C9E494CC5}" type="presParOf" srcId="{3D880733-A1D4-4235-9A5D-D9B65BD65535}" destId="{7DE8F725-83AF-4A37-B7E0-17318FA1E0CD}" srcOrd="1" destOrd="0" presId="urn:microsoft.com/office/officeart/2018/5/layout/CenteredIconLabelDescriptionList"/>
    <dgm:cxn modelId="{F7C0D890-85D9-40F5-B5AB-DD4AC28F2652}" type="presParOf" srcId="{3D880733-A1D4-4235-9A5D-D9B65BD65535}" destId="{194CC0D0-8D84-4D09-83FE-C3EC7A75C37F}" srcOrd="2" destOrd="0" presId="urn:microsoft.com/office/officeart/2018/5/layout/CenteredIconLabelDescriptionList"/>
    <dgm:cxn modelId="{2931352B-AC7A-4F28-AFB8-25BC0C909FED}" type="presParOf" srcId="{3D880733-A1D4-4235-9A5D-D9B65BD65535}" destId="{B3794AD9-DD08-464B-9561-CE1597CF1EB6}" srcOrd="3" destOrd="0" presId="urn:microsoft.com/office/officeart/2018/5/layout/CenteredIconLabelDescriptionList"/>
    <dgm:cxn modelId="{8B5FC35A-AA9A-414E-BED4-54889F6F5BDF}" type="presParOf" srcId="{3D880733-A1D4-4235-9A5D-D9B65BD65535}" destId="{7C3F0027-033F-4438-954B-4F73346E60F5}"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a:latin typeface="Calibri" panose="020F0502020204030204"/>
            </a:rPr>
            <a:t>January 18th, 2023</a:t>
          </a:r>
          <a:endParaRPr lang="en-US"/>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a:solidFill>
                <a:srgbClr val="444444"/>
              </a:solidFill>
              <a:latin typeface="Calibri" panose="020F0502020204030204"/>
            </a:rPr>
            <a:t>January </a:t>
          </a:r>
          <a:r>
            <a:rPr lang="en-US">
              <a:latin typeface="Calibri" panose="020F0502020204030204"/>
            </a:rPr>
            <a:t>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a:latin typeface="Calibri" panose="020F0502020204030204"/>
            </a:rPr>
            <a:t>ESSI Data Training Webinars</a:t>
          </a:r>
          <a:endParaRPr lang="en-US"/>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11CE12-66FB-4534-BC48-90E1F2E3CD98}" type="doc">
      <dgm:prSet loTypeId="urn:microsoft.com/office/officeart/2005/8/layout/hierarchy1" loCatId="hierarchy" qsTypeId="urn:microsoft.com/office/officeart/2005/8/quickstyle/simple1" qsCatId="simple" csTypeId="urn:microsoft.com/office/officeart/2005/8/colors/accent3_2" csCatId="accent3"/>
      <dgm:spPr/>
      <dgm:t>
        <a:bodyPr/>
        <a:lstStyle/>
        <a:p>
          <a:endParaRPr lang="en-US"/>
        </a:p>
      </dgm:t>
    </dgm:pt>
    <dgm:pt modelId="{BAC5BD14-077D-4546-B2D1-36BB7CAE75E6}">
      <dgm:prSet/>
      <dgm:spPr/>
      <dgm:t>
        <a:bodyPr/>
        <a:lstStyle/>
        <a:p>
          <a:r>
            <a:rPr lang="en-US" b="0" i="0"/>
            <a:t>Team leads are the individual who will lead the hospital's QI team in </a:t>
          </a:r>
          <a:r>
            <a:rPr lang="en-US" b="1" i="0" u="sng">
              <a:solidFill>
                <a:schemeClr val="accent1"/>
              </a:solidFill>
            </a:rPr>
            <a:t>systems change</a:t>
          </a:r>
          <a:r>
            <a:rPr lang="en-US" b="0" i="0"/>
            <a:t> as well as clinical </a:t>
          </a:r>
          <a:r>
            <a:rPr lang="en-US" b="1" i="0" u="sng">
              <a:solidFill>
                <a:schemeClr val="accent1"/>
              </a:solidFill>
            </a:rPr>
            <a:t>culture change</a:t>
          </a:r>
          <a:r>
            <a:rPr lang="en-US" b="0" i="0"/>
            <a:t>. </a:t>
          </a:r>
          <a:endParaRPr lang="en-US"/>
        </a:p>
      </dgm:t>
    </dgm:pt>
    <dgm:pt modelId="{F621A4AD-B4A6-4ABB-9949-7199E5868C3C}" type="parTrans" cxnId="{DB1D5FD1-1A92-4846-9CE2-2686C02A4CD0}">
      <dgm:prSet/>
      <dgm:spPr/>
      <dgm:t>
        <a:bodyPr/>
        <a:lstStyle/>
        <a:p>
          <a:endParaRPr lang="en-US"/>
        </a:p>
      </dgm:t>
    </dgm:pt>
    <dgm:pt modelId="{7457D244-61C0-4B88-AE9D-6708C8A34D91}" type="sibTrans" cxnId="{DB1D5FD1-1A92-4846-9CE2-2686C02A4CD0}">
      <dgm:prSet/>
      <dgm:spPr/>
      <dgm:t>
        <a:bodyPr/>
        <a:lstStyle/>
        <a:p>
          <a:endParaRPr lang="en-US"/>
        </a:p>
      </dgm:t>
    </dgm:pt>
    <dgm:pt modelId="{1DB62430-EC85-4F0B-9EBB-623AD1957FBB}">
      <dgm:prSet/>
      <dgm:spPr/>
      <dgm:t>
        <a:bodyPr/>
        <a:lstStyle/>
        <a:p>
          <a:r>
            <a:rPr lang="en-US" b="0" i="0"/>
            <a:t>They will also serve as the </a:t>
          </a:r>
          <a:r>
            <a:rPr lang="en-US" b="1" i="0" u="sng">
              <a:solidFill>
                <a:schemeClr val="accent2">
                  <a:lumMod val="75000"/>
                </a:schemeClr>
              </a:solidFill>
            </a:rPr>
            <a:t>point person for ILPQC 1:1 QI Support</a:t>
          </a:r>
          <a:r>
            <a:rPr lang="en-US" b="0" i="0"/>
            <a:t> and are </a:t>
          </a:r>
          <a:r>
            <a:rPr lang="en-US" b="1" i="0" u="sng">
              <a:solidFill>
                <a:schemeClr val="accent1"/>
              </a:solidFill>
            </a:rPr>
            <a:t>responsible for responding directly to ILPQC</a:t>
          </a:r>
          <a:r>
            <a:rPr lang="en-US" b="0" i="0"/>
            <a:t>'s email requests.</a:t>
          </a:r>
          <a:endParaRPr lang="en-US"/>
        </a:p>
      </dgm:t>
    </dgm:pt>
    <dgm:pt modelId="{4F72E4BF-4176-439E-A7BD-A86CDCC5424D}" type="parTrans" cxnId="{57E30050-7510-4CD4-9957-B4639F110D64}">
      <dgm:prSet/>
      <dgm:spPr/>
      <dgm:t>
        <a:bodyPr/>
        <a:lstStyle/>
        <a:p>
          <a:endParaRPr lang="en-US"/>
        </a:p>
      </dgm:t>
    </dgm:pt>
    <dgm:pt modelId="{90A7E9F7-2D3F-4CDA-92B8-E637233FC5BF}" type="sibTrans" cxnId="{57E30050-7510-4CD4-9957-B4639F110D64}">
      <dgm:prSet/>
      <dgm:spPr/>
      <dgm:t>
        <a:bodyPr/>
        <a:lstStyle/>
        <a:p>
          <a:endParaRPr lang="en-US"/>
        </a:p>
      </dgm:t>
    </dgm:pt>
    <dgm:pt modelId="{95BD5ACF-778F-49E3-8CE7-0FEBC1E50D86}" type="pres">
      <dgm:prSet presAssocID="{6711CE12-66FB-4534-BC48-90E1F2E3CD98}" presName="hierChild1" presStyleCnt="0">
        <dgm:presLayoutVars>
          <dgm:chPref val="1"/>
          <dgm:dir/>
          <dgm:animOne val="branch"/>
          <dgm:animLvl val="lvl"/>
          <dgm:resizeHandles/>
        </dgm:presLayoutVars>
      </dgm:prSet>
      <dgm:spPr/>
    </dgm:pt>
    <dgm:pt modelId="{85286139-F642-40EC-B760-1B0F4009D544}" type="pres">
      <dgm:prSet presAssocID="{BAC5BD14-077D-4546-B2D1-36BB7CAE75E6}" presName="hierRoot1" presStyleCnt="0"/>
      <dgm:spPr/>
    </dgm:pt>
    <dgm:pt modelId="{B6824B3B-AE69-4442-84C1-A0B7011D30F9}" type="pres">
      <dgm:prSet presAssocID="{BAC5BD14-077D-4546-B2D1-36BB7CAE75E6}" presName="composite" presStyleCnt="0"/>
      <dgm:spPr/>
    </dgm:pt>
    <dgm:pt modelId="{785ABFE1-87CF-4B57-84A4-0C891FC85442}" type="pres">
      <dgm:prSet presAssocID="{BAC5BD14-077D-4546-B2D1-36BB7CAE75E6}" presName="background" presStyleLbl="node0" presStyleIdx="0" presStyleCnt="2"/>
      <dgm:spPr/>
    </dgm:pt>
    <dgm:pt modelId="{6ED375C1-5711-4532-A806-FDEB1C2D8767}" type="pres">
      <dgm:prSet presAssocID="{BAC5BD14-077D-4546-B2D1-36BB7CAE75E6}" presName="text" presStyleLbl="fgAcc0" presStyleIdx="0" presStyleCnt="2">
        <dgm:presLayoutVars>
          <dgm:chPref val="3"/>
        </dgm:presLayoutVars>
      </dgm:prSet>
      <dgm:spPr/>
    </dgm:pt>
    <dgm:pt modelId="{32F9E160-CB7E-4FCC-87CB-D1F6B077DDF5}" type="pres">
      <dgm:prSet presAssocID="{BAC5BD14-077D-4546-B2D1-36BB7CAE75E6}" presName="hierChild2" presStyleCnt="0"/>
      <dgm:spPr/>
    </dgm:pt>
    <dgm:pt modelId="{0C490751-E9D0-4BB7-876E-A68F5C589D01}" type="pres">
      <dgm:prSet presAssocID="{1DB62430-EC85-4F0B-9EBB-623AD1957FBB}" presName="hierRoot1" presStyleCnt="0"/>
      <dgm:spPr/>
    </dgm:pt>
    <dgm:pt modelId="{A1AFEA7C-FE47-44DE-A3BF-B5D56657AD2B}" type="pres">
      <dgm:prSet presAssocID="{1DB62430-EC85-4F0B-9EBB-623AD1957FBB}" presName="composite" presStyleCnt="0"/>
      <dgm:spPr/>
    </dgm:pt>
    <dgm:pt modelId="{C132048E-4BA0-42BE-AC70-78C969BE1F05}" type="pres">
      <dgm:prSet presAssocID="{1DB62430-EC85-4F0B-9EBB-623AD1957FBB}" presName="background" presStyleLbl="node0" presStyleIdx="1" presStyleCnt="2"/>
      <dgm:spPr/>
    </dgm:pt>
    <dgm:pt modelId="{9CBA1388-5E21-4A43-9877-ACF5CA2E3EAC}" type="pres">
      <dgm:prSet presAssocID="{1DB62430-EC85-4F0B-9EBB-623AD1957FBB}" presName="text" presStyleLbl="fgAcc0" presStyleIdx="1" presStyleCnt="2">
        <dgm:presLayoutVars>
          <dgm:chPref val="3"/>
        </dgm:presLayoutVars>
      </dgm:prSet>
      <dgm:spPr/>
    </dgm:pt>
    <dgm:pt modelId="{8D5F3955-0B21-4B0A-8A76-622506AF9420}" type="pres">
      <dgm:prSet presAssocID="{1DB62430-EC85-4F0B-9EBB-623AD1957FBB}" presName="hierChild2" presStyleCnt="0"/>
      <dgm:spPr/>
    </dgm:pt>
  </dgm:ptLst>
  <dgm:cxnLst>
    <dgm:cxn modelId="{DC4D6417-9C1B-4E0B-8EBE-ECB2C864102E}" type="presOf" srcId="{1DB62430-EC85-4F0B-9EBB-623AD1957FBB}" destId="{9CBA1388-5E21-4A43-9877-ACF5CA2E3EAC}" srcOrd="0" destOrd="0" presId="urn:microsoft.com/office/officeart/2005/8/layout/hierarchy1"/>
    <dgm:cxn modelId="{61378C5C-C751-47AF-897C-1CC72601B7EB}" type="presOf" srcId="{BAC5BD14-077D-4546-B2D1-36BB7CAE75E6}" destId="{6ED375C1-5711-4532-A806-FDEB1C2D8767}" srcOrd="0" destOrd="0" presId="urn:microsoft.com/office/officeart/2005/8/layout/hierarchy1"/>
    <dgm:cxn modelId="{57E30050-7510-4CD4-9957-B4639F110D64}" srcId="{6711CE12-66FB-4534-BC48-90E1F2E3CD98}" destId="{1DB62430-EC85-4F0B-9EBB-623AD1957FBB}" srcOrd="1" destOrd="0" parTransId="{4F72E4BF-4176-439E-A7BD-A86CDCC5424D}" sibTransId="{90A7E9F7-2D3F-4CDA-92B8-E637233FC5BF}"/>
    <dgm:cxn modelId="{DB1D5FD1-1A92-4846-9CE2-2686C02A4CD0}" srcId="{6711CE12-66FB-4534-BC48-90E1F2E3CD98}" destId="{BAC5BD14-077D-4546-B2D1-36BB7CAE75E6}" srcOrd="0" destOrd="0" parTransId="{F621A4AD-B4A6-4ABB-9949-7199E5868C3C}" sibTransId="{7457D244-61C0-4B88-AE9D-6708C8A34D91}"/>
    <dgm:cxn modelId="{B3791FFA-4FB9-4D2B-A96A-24166DE3C895}" type="presOf" srcId="{6711CE12-66FB-4534-BC48-90E1F2E3CD98}" destId="{95BD5ACF-778F-49E3-8CE7-0FEBC1E50D86}" srcOrd="0" destOrd="0" presId="urn:microsoft.com/office/officeart/2005/8/layout/hierarchy1"/>
    <dgm:cxn modelId="{0CC3CA38-780E-4B43-9715-EC387A04DE17}" type="presParOf" srcId="{95BD5ACF-778F-49E3-8CE7-0FEBC1E50D86}" destId="{85286139-F642-40EC-B760-1B0F4009D544}" srcOrd="0" destOrd="0" presId="urn:microsoft.com/office/officeart/2005/8/layout/hierarchy1"/>
    <dgm:cxn modelId="{A6FED802-10CC-4A1D-AD54-FCB0A87427CA}" type="presParOf" srcId="{85286139-F642-40EC-B760-1B0F4009D544}" destId="{B6824B3B-AE69-4442-84C1-A0B7011D30F9}" srcOrd="0" destOrd="0" presId="urn:microsoft.com/office/officeart/2005/8/layout/hierarchy1"/>
    <dgm:cxn modelId="{3B1AFD49-F963-49CD-8638-889CA57B456D}" type="presParOf" srcId="{B6824B3B-AE69-4442-84C1-A0B7011D30F9}" destId="{785ABFE1-87CF-4B57-84A4-0C891FC85442}" srcOrd="0" destOrd="0" presId="urn:microsoft.com/office/officeart/2005/8/layout/hierarchy1"/>
    <dgm:cxn modelId="{9BDA6CF4-4DA3-4A4A-BD09-957FE9C81188}" type="presParOf" srcId="{B6824B3B-AE69-4442-84C1-A0B7011D30F9}" destId="{6ED375C1-5711-4532-A806-FDEB1C2D8767}" srcOrd="1" destOrd="0" presId="urn:microsoft.com/office/officeart/2005/8/layout/hierarchy1"/>
    <dgm:cxn modelId="{6345B261-32BA-4FC4-9E96-7FBBB9DB15EF}" type="presParOf" srcId="{85286139-F642-40EC-B760-1B0F4009D544}" destId="{32F9E160-CB7E-4FCC-87CB-D1F6B077DDF5}" srcOrd="1" destOrd="0" presId="urn:microsoft.com/office/officeart/2005/8/layout/hierarchy1"/>
    <dgm:cxn modelId="{D540ABEF-E699-471E-B957-56CE0D987516}" type="presParOf" srcId="{95BD5ACF-778F-49E3-8CE7-0FEBC1E50D86}" destId="{0C490751-E9D0-4BB7-876E-A68F5C589D01}" srcOrd="1" destOrd="0" presId="urn:microsoft.com/office/officeart/2005/8/layout/hierarchy1"/>
    <dgm:cxn modelId="{225CCC91-A40C-4388-B9D9-DB206B50E63F}" type="presParOf" srcId="{0C490751-E9D0-4BB7-876E-A68F5C589D01}" destId="{A1AFEA7C-FE47-44DE-A3BF-B5D56657AD2B}" srcOrd="0" destOrd="0" presId="urn:microsoft.com/office/officeart/2005/8/layout/hierarchy1"/>
    <dgm:cxn modelId="{2082BAE6-D142-49C3-B057-9A5BB41E90D2}" type="presParOf" srcId="{A1AFEA7C-FE47-44DE-A3BF-B5D56657AD2B}" destId="{C132048E-4BA0-42BE-AC70-78C969BE1F05}" srcOrd="0" destOrd="0" presId="urn:microsoft.com/office/officeart/2005/8/layout/hierarchy1"/>
    <dgm:cxn modelId="{BCD21369-D7AB-44C7-80A2-63D9C894F735}" type="presParOf" srcId="{A1AFEA7C-FE47-44DE-A3BF-B5D56657AD2B}" destId="{9CBA1388-5E21-4A43-9877-ACF5CA2E3EAC}" srcOrd="1" destOrd="0" presId="urn:microsoft.com/office/officeart/2005/8/layout/hierarchy1"/>
    <dgm:cxn modelId="{751229BB-47E9-4590-9DE2-C04AF4C9E940}" type="presParOf" srcId="{0C490751-E9D0-4BB7-876E-A68F5C589D01}" destId="{8D5F3955-0B21-4B0A-8A76-622506AF9420}"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3037FF7-52C8-4474-BCE8-8244E53E36D4}" type="doc">
      <dgm:prSet loTypeId="urn:microsoft.com/office/officeart/2018/2/layout/IconCircle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F6712035-D929-461B-B434-A1B3257E62EF}">
      <dgm:prSet/>
      <dgm:spPr/>
      <dgm:t>
        <a:bodyPr/>
        <a:lstStyle/>
        <a:p>
          <a:pPr rtl="0">
            <a:lnSpc>
              <a:spcPct val="100000"/>
            </a:lnSpc>
          </a:pPr>
          <a:r>
            <a:rPr lang="en-US" b="0" i="0"/>
            <a:t>1. Monthly team meetings prescheduled</a:t>
          </a:r>
          <a:r>
            <a:rPr lang="en-US" b="0" i="0">
              <a:latin typeface="Calibri" panose="020F0502020204030204"/>
            </a:rPr>
            <a:t> with calendar invites</a:t>
          </a:r>
          <a:endParaRPr lang="en-US"/>
        </a:p>
      </dgm:t>
    </dgm:pt>
    <dgm:pt modelId="{F2534302-A028-4143-A18D-E7D8A033A440}" type="parTrans" cxnId="{4F7CE7C6-8118-472C-9B35-4E1A3102DD37}">
      <dgm:prSet/>
      <dgm:spPr/>
      <dgm:t>
        <a:bodyPr/>
        <a:lstStyle/>
        <a:p>
          <a:endParaRPr lang="en-US"/>
        </a:p>
      </dgm:t>
    </dgm:pt>
    <dgm:pt modelId="{95A6F821-0BF7-4D4B-8FEC-660974C31068}" type="sibTrans" cxnId="{4F7CE7C6-8118-472C-9B35-4E1A3102DD37}">
      <dgm:prSet/>
      <dgm:spPr/>
      <dgm:t>
        <a:bodyPr/>
        <a:lstStyle/>
        <a:p>
          <a:pPr>
            <a:lnSpc>
              <a:spcPct val="100000"/>
            </a:lnSpc>
          </a:pPr>
          <a:endParaRPr lang="en-US"/>
        </a:p>
      </dgm:t>
    </dgm:pt>
    <dgm:pt modelId="{09B47623-3A81-495C-8B88-FFDE25FB1C12}">
      <dgm:prSet/>
      <dgm:spPr/>
      <dgm:t>
        <a:bodyPr/>
        <a:lstStyle/>
        <a:p>
          <a:pPr>
            <a:lnSpc>
              <a:spcPct val="100000"/>
            </a:lnSpc>
          </a:pPr>
          <a:r>
            <a:rPr lang="en-US" b="0" i="0"/>
            <a:t>2. Regular attendance on ILPQC webinars/calls</a:t>
          </a:r>
          <a:r>
            <a:rPr lang="en-US" b="0" i="0">
              <a:latin typeface="Calibri" panose="020F0502020204030204"/>
            </a:rPr>
            <a:t> </a:t>
          </a:r>
          <a:endParaRPr lang="en-US"/>
        </a:p>
      </dgm:t>
    </dgm:pt>
    <dgm:pt modelId="{511A5534-6A1E-4C97-BBDA-242C7DD932E1}" type="parTrans" cxnId="{73449ECE-1076-4559-90F2-0CE4E56D9ECF}">
      <dgm:prSet/>
      <dgm:spPr/>
      <dgm:t>
        <a:bodyPr/>
        <a:lstStyle/>
        <a:p>
          <a:endParaRPr lang="en-US"/>
        </a:p>
      </dgm:t>
    </dgm:pt>
    <dgm:pt modelId="{FE666A78-56A5-479A-9677-975EBE302B67}" type="sibTrans" cxnId="{73449ECE-1076-4559-90F2-0CE4E56D9ECF}">
      <dgm:prSet/>
      <dgm:spPr/>
      <dgm:t>
        <a:bodyPr/>
        <a:lstStyle/>
        <a:p>
          <a:pPr>
            <a:lnSpc>
              <a:spcPct val="100000"/>
            </a:lnSpc>
          </a:pPr>
          <a:endParaRPr lang="en-US"/>
        </a:p>
      </dgm:t>
    </dgm:pt>
    <dgm:pt modelId="{F8AD9F07-DC0B-4663-BB5E-E654C4683141}">
      <dgm:prSet/>
      <dgm:spPr/>
      <dgm:t>
        <a:bodyPr/>
        <a:lstStyle/>
        <a:p>
          <a:pPr>
            <a:lnSpc>
              <a:spcPct val="100000"/>
            </a:lnSpc>
          </a:pPr>
          <a:r>
            <a:rPr lang="en-US" b="0" i="0"/>
            <a:t>3. Agendas prepared for each meeting</a:t>
          </a:r>
          <a:r>
            <a:rPr lang="en-US" b="0" i="0">
              <a:latin typeface="Calibri" panose="020F0502020204030204"/>
            </a:rPr>
            <a:t> </a:t>
          </a:r>
          <a:endParaRPr lang="en-US"/>
        </a:p>
      </dgm:t>
    </dgm:pt>
    <dgm:pt modelId="{565A03BC-28C3-432A-A86F-17078C721CB7}" type="parTrans" cxnId="{DAC87FAB-399C-4BE2-89B9-E28CDCA949D1}">
      <dgm:prSet/>
      <dgm:spPr/>
      <dgm:t>
        <a:bodyPr/>
        <a:lstStyle/>
        <a:p>
          <a:endParaRPr lang="en-US"/>
        </a:p>
      </dgm:t>
    </dgm:pt>
    <dgm:pt modelId="{D212F93E-43FA-4B2F-815E-80E4622EF7F7}" type="sibTrans" cxnId="{DAC87FAB-399C-4BE2-89B9-E28CDCA949D1}">
      <dgm:prSet/>
      <dgm:spPr/>
      <dgm:t>
        <a:bodyPr/>
        <a:lstStyle/>
        <a:p>
          <a:pPr>
            <a:lnSpc>
              <a:spcPct val="100000"/>
            </a:lnSpc>
          </a:pPr>
          <a:endParaRPr lang="en-US"/>
        </a:p>
      </dgm:t>
    </dgm:pt>
    <dgm:pt modelId="{F4947508-E26A-4B7B-A112-C64009B37F2F}">
      <dgm:prSet/>
      <dgm:spPr/>
      <dgm:t>
        <a:bodyPr/>
        <a:lstStyle/>
        <a:p>
          <a:pPr>
            <a:lnSpc>
              <a:spcPct val="100000"/>
            </a:lnSpc>
          </a:pPr>
          <a:r>
            <a:rPr lang="en-US" b="0" i="0"/>
            <a:t>4. Data reviewed with QI team</a:t>
          </a:r>
          <a:r>
            <a:rPr lang="en-US" b="0" i="0">
              <a:latin typeface="Calibri" panose="020F0502020204030204"/>
            </a:rPr>
            <a:t> </a:t>
          </a:r>
          <a:endParaRPr lang="en-US"/>
        </a:p>
      </dgm:t>
    </dgm:pt>
    <dgm:pt modelId="{9B826DFE-057A-4FB1-AD28-C7DC7D864F19}" type="parTrans" cxnId="{BDECC9A4-28BE-4B2C-AB04-F25474403AE3}">
      <dgm:prSet/>
      <dgm:spPr/>
      <dgm:t>
        <a:bodyPr/>
        <a:lstStyle/>
        <a:p>
          <a:endParaRPr lang="en-US"/>
        </a:p>
      </dgm:t>
    </dgm:pt>
    <dgm:pt modelId="{4B5D2C1F-A715-4DC7-8EE5-104D5F882C29}" type="sibTrans" cxnId="{BDECC9A4-28BE-4B2C-AB04-F25474403AE3}">
      <dgm:prSet/>
      <dgm:spPr/>
      <dgm:t>
        <a:bodyPr/>
        <a:lstStyle/>
        <a:p>
          <a:pPr>
            <a:lnSpc>
              <a:spcPct val="100000"/>
            </a:lnSpc>
          </a:pPr>
          <a:endParaRPr lang="en-US"/>
        </a:p>
      </dgm:t>
    </dgm:pt>
    <dgm:pt modelId="{E8AF776E-AFDF-4B40-9FCC-5B3B1A483B98}">
      <dgm:prSet/>
      <dgm:spPr/>
      <dgm:t>
        <a:bodyPr/>
        <a:lstStyle/>
        <a:p>
          <a:pPr>
            <a:lnSpc>
              <a:spcPct val="100000"/>
            </a:lnSpc>
          </a:pPr>
          <a:r>
            <a:rPr lang="en-US" b="0" i="0"/>
            <a:t>5. Clear action items for next meeting</a:t>
          </a:r>
          <a:r>
            <a:rPr lang="en-US" b="0" i="0">
              <a:latin typeface="Calibri" panose="020F0502020204030204"/>
            </a:rPr>
            <a:t> </a:t>
          </a:r>
          <a:endParaRPr lang="en-US"/>
        </a:p>
      </dgm:t>
    </dgm:pt>
    <dgm:pt modelId="{C73BB029-D34B-45E8-BE0A-BBCB9145A319}" type="parTrans" cxnId="{E70F79EA-5024-4F44-8ECE-E54D87269F63}">
      <dgm:prSet/>
      <dgm:spPr/>
      <dgm:t>
        <a:bodyPr/>
        <a:lstStyle/>
        <a:p>
          <a:endParaRPr lang="en-US"/>
        </a:p>
      </dgm:t>
    </dgm:pt>
    <dgm:pt modelId="{96DE16A6-671E-4EAB-B83E-7601EC9C1E31}" type="sibTrans" cxnId="{E70F79EA-5024-4F44-8ECE-E54D87269F63}">
      <dgm:prSet/>
      <dgm:spPr/>
      <dgm:t>
        <a:bodyPr/>
        <a:lstStyle/>
        <a:p>
          <a:pPr>
            <a:lnSpc>
              <a:spcPct val="100000"/>
            </a:lnSpc>
          </a:pPr>
          <a:endParaRPr lang="en-US"/>
        </a:p>
      </dgm:t>
    </dgm:pt>
    <dgm:pt modelId="{063C936F-BB00-4E58-BB69-F03259CF365F}">
      <dgm:prSet/>
      <dgm:spPr/>
      <dgm:t>
        <a:bodyPr/>
        <a:lstStyle/>
        <a:p>
          <a:pPr>
            <a:lnSpc>
              <a:spcPct val="100000"/>
            </a:lnSpc>
          </a:pPr>
          <a:r>
            <a:rPr lang="en-US" b="0" i="0"/>
            <a:t>6. Clear &amp; short communications with follow-up</a:t>
          </a:r>
          <a:endParaRPr lang="en-US"/>
        </a:p>
      </dgm:t>
    </dgm:pt>
    <dgm:pt modelId="{B25958FE-F285-45B1-8B80-F8C128121A3E}" type="parTrans" cxnId="{4AC2F3DE-C670-45E8-BA7C-E7B68DF7FC61}">
      <dgm:prSet/>
      <dgm:spPr/>
      <dgm:t>
        <a:bodyPr/>
        <a:lstStyle/>
        <a:p>
          <a:endParaRPr lang="en-US"/>
        </a:p>
      </dgm:t>
    </dgm:pt>
    <dgm:pt modelId="{DF08ADCE-D4CA-4028-BFC7-D45021EA295B}" type="sibTrans" cxnId="{4AC2F3DE-C670-45E8-BA7C-E7B68DF7FC61}">
      <dgm:prSet/>
      <dgm:spPr/>
      <dgm:t>
        <a:bodyPr/>
        <a:lstStyle/>
        <a:p>
          <a:endParaRPr lang="en-US"/>
        </a:p>
      </dgm:t>
    </dgm:pt>
    <dgm:pt modelId="{5A981516-C234-4626-951D-F8088322A5ED}" type="pres">
      <dgm:prSet presAssocID="{33037FF7-52C8-4474-BCE8-8244E53E36D4}" presName="root" presStyleCnt="0">
        <dgm:presLayoutVars>
          <dgm:dir/>
          <dgm:resizeHandles val="exact"/>
        </dgm:presLayoutVars>
      </dgm:prSet>
      <dgm:spPr/>
    </dgm:pt>
    <dgm:pt modelId="{18EE026B-D924-4731-838A-94533CA86B87}" type="pres">
      <dgm:prSet presAssocID="{33037FF7-52C8-4474-BCE8-8244E53E36D4}" presName="container" presStyleCnt="0">
        <dgm:presLayoutVars>
          <dgm:dir/>
          <dgm:resizeHandles val="exact"/>
        </dgm:presLayoutVars>
      </dgm:prSet>
      <dgm:spPr/>
    </dgm:pt>
    <dgm:pt modelId="{1BB6D622-5C7E-4A09-901A-4F3AF1033203}" type="pres">
      <dgm:prSet presAssocID="{F6712035-D929-461B-B434-A1B3257E62EF}" presName="compNode" presStyleCnt="0"/>
      <dgm:spPr/>
    </dgm:pt>
    <dgm:pt modelId="{12636F45-938B-4525-908E-681336817BCB}" type="pres">
      <dgm:prSet presAssocID="{F6712035-D929-461B-B434-A1B3257E62EF}" presName="iconBgRect" presStyleLbl="bgShp" presStyleIdx="0" presStyleCnt="6"/>
      <dgm:spPr/>
    </dgm:pt>
    <dgm:pt modelId="{0CE5FC25-44CC-4AE0-BCCC-F86FA716CA11}" type="pres">
      <dgm:prSet presAssocID="{F6712035-D929-461B-B434-A1B3257E62EF}" presName="iconRect" presStyleLbl="node1" presStyleIdx="0" presStyleCnt="6"/>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eeting"/>
        </a:ext>
      </dgm:extLst>
    </dgm:pt>
    <dgm:pt modelId="{2BDC9349-FE9F-425C-8ED3-3576BE918664}" type="pres">
      <dgm:prSet presAssocID="{F6712035-D929-461B-B434-A1B3257E62EF}" presName="spaceRect" presStyleCnt="0"/>
      <dgm:spPr/>
    </dgm:pt>
    <dgm:pt modelId="{EDE668BA-2340-4E9A-AFD5-E844996E8809}" type="pres">
      <dgm:prSet presAssocID="{F6712035-D929-461B-B434-A1B3257E62EF}" presName="textRect" presStyleLbl="revTx" presStyleIdx="0" presStyleCnt="6">
        <dgm:presLayoutVars>
          <dgm:chMax val="1"/>
          <dgm:chPref val="1"/>
        </dgm:presLayoutVars>
      </dgm:prSet>
      <dgm:spPr/>
    </dgm:pt>
    <dgm:pt modelId="{B3E34345-EDC8-4441-AE6C-7DF4AB9A268D}" type="pres">
      <dgm:prSet presAssocID="{95A6F821-0BF7-4D4B-8FEC-660974C31068}" presName="sibTrans" presStyleLbl="sibTrans2D1" presStyleIdx="0" presStyleCnt="0"/>
      <dgm:spPr/>
    </dgm:pt>
    <dgm:pt modelId="{E86590D4-4B95-4935-937C-20E434F42238}" type="pres">
      <dgm:prSet presAssocID="{09B47623-3A81-495C-8B88-FFDE25FB1C12}" presName="compNode" presStyleCnt="0"/>
      <dgm:spPr/>
    </dgm:pt>
    <dgm:pt modelId="{A2AA1B16-6472-438D-BA40-687729996721}" type="pres">
      <dgm:prSet presAssocID="{09B47623-3A81-495C-8B88-FFDE25FB1C12}" presName="iconBgRect" presStyleLbl="bgShp" presStyleIdx="1" presStyleCnt="6"/>
      <dgm:spPr/>
    </dgm:pt>
    <dgm:pt modelId="{7F8AFBB2-9582-436F-B8EF-FE6091979EB0}" type="pres">
      <dgm:prSet presAssocID="{09B47623-3A81-495C-8B88-FFDE25FB1C12}" presName="iconRect" presStyleLbl="node1" presStyleIdx="1" presStyleCnt="6"/>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Call center"/>
        </a:ext>
      </dgm:extLst>
    </dgm:pt>
    <dgm:pt modelId="{0F5CB3EB-B0BF-4B1F-8B32-1B5CD9E33A11}" type="pres">
      <dgm:prSet presAssocID="{09B47623-3A81-495C-8B88-FFDE25FB1C12}" presName="spaceRect" presStyleCnt="0"/>
      <dgm:spPr/>
    </dgm:pt>
    <dgm:pt modelId="{7D76AD23-5F2E-4880-9BC0-A64D1E9A4CDB}" type="pres">
      <dgm:prSet presAssocID="{09B47623-3A81-495C-8B88-FFDE25FB1C12}" presName="textRect" presStyleLbl="revTx" presStyleIdx="1" presStyleCnt="6">
        <dgm:presLayoutVars>
          <dgm:chMax val="1"/>
          <dgm:chPref val="1"/>
        </dgm:presLayoutVars>
      </dgm:prSet>
      <dgm:spPr/>
    </dgm:pt>
    <dgm:pt modelId="{6286E18B-B3E9-45E2-9BB7-5BC2936BDF1D}" type="pres">
      <dgm:prSet presAssocID="{FE666A78-56A5-479A-9677-975EBE302B67}" presName="sibTrans" presStyleLbl="sibTrans2D1" presStyleIdx="0" presStyleCnt="0"/>
      <dgm:spPr/>
    </dgm:pt>
    <dgm:pt modelId="{CC1120BC-4AD1-486E-B7DF-DE75C936A614}" type="pres">
      <dgm:prSet presAssocID="{F8AD9F07-DC0B-4663-BB5E-E654C4683141}" presName="compNode" presStyleCnt="0"/>
      <dgm:spPr/>
    </dgm:pt>
    <dgm:pt modelId="{0A78D519-9B7E-4DB6-AA2A-E61909BB8023}" type="pres">
      <dgm:prSet presAssocID="{F8AD9F07-DC0B-4663-BB5E-E654C4683141}" presName="iconBgRect" presStyleLbl="bgShp" presStyleIdx="2" presStyleCnt="6"/>
      <dgm:spPr/>
    </dgm:pt>
    <dgm:pt modelId="{1F208B14-AF27-419C-A31E-3FEBF2D2D5A5}" type="pres">
      <dgm:prSet presAssocID="{F8AD9F07-DC0B-4663-BB5E-E654C4683141}" presName="iconRect" presStyleLbl="node1" presStyleIdx="2" presStyleCnt="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9FF3E8F9-AC1B-4327-87F6-26D82605A1A6}" type="pres">
      <dgm:prSet presAssocID="{F8AD9F07-DC0B-4663-BB5E-E654C4683141}" presName="spaceRect" presStyleCnt="0"/>
      <dgm:spPr/>
    </dgm:pt>
    <dgm:pt modelId="{639BC5FC-06F6-4CCA-A0C8-ED9A19A5F73D}" type="pres">
      <dgm:prSet presAssocID="{F8AD9F07-DC0B-4663-BB5E-E654C4683141}" presName="textRect" presStyleLbl="revTx" presStyleIdx="2" presStyleCnt="6">
        <dgm:presLayoutVars>
          <dgm:chMax val="1"/>
          <dgm:chPref val="1"/>
        </dgm:presLayoutVars>
      </dgm:prSet>
      <dgm:spPr/>
    </dgm:pt>
    <dgm:pt modelId="{CC822574-D57A-4FE9-A710-5B159F4DE599}" type="pres">
      <dgm:prSet presAssocID="{D212F93E-43FA-4B2F-815E-80E4622EF7F7}" presName="sibTrans" presStyleLbl="sibTrans2D1" presStyleIdx="0" presStyleCnt="0"/>
      <dgm:spPr/>
    </dgm:pt>
    <dgm:pt modelId="{1D8134B3-86F7-47D3-B126-6D2354352302}" type="pres">
      <dgm:prSet presAssocID="{F4947508-E26A-4B7B-A112-C64009B37F2F}" presName="compNode" presStyleCnt="0"/>
      <dgm:spPr/>
    </dgm:pt>
    <dgm:pt modelId="{0AF98EE8-4DFF-46C1-8F1D-69BF9C7C1376}" type="pres">
      <dgm:prSet presAssocID="{F4947508-E26A-4B7B-A112-C64009B37F2F}" presName="iconBgRect" presStyleLbl="bgShp" presStyleIdx="3" presStyleCnt="6"/>
      <dgm:spPr/>
    </dgm:pt>
    <dgm:pt modelId="{6D3BA4C1-89BD-494E-BD6A-F86822F076DD}" type="pres">
      <dgm:prSet presAssocID="{F4947508-E26A-4B7B-A112-C64009B37F2F}" presName="iconRect" presStyleLbl="node1" presStyleIdx="3" presStyleCnt="6"/>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Statistics"/>
        </a:ext>
      </dgm:extLst>
    </dgm:pt>
    <dgm:pt modelId="{2B0E6F24-0A93-42F5-83EE-048F16FA80E6}" type="pres">
      <dgm:prSet presAssocID="{F4947508-E26A-4B7B-A112-C64009B37F2F}" presName="spaceRect" presStyleCnt="0"/>
      <dgm:spPr/>
    </dgm:pt>
    <dgm:pt modelId="{E80DD74D-E412-4985-BB79-D508D786D3EE}" type="pres">
      <dgm:prSet presAssocID="{F4947508-E26A-4B7B-A112-C64009B37F2F}" presName="textRect" presStyleLbl="revTx" presStyleIdx="3" presStyleCnt="6">
        <dgm:presLayoutVars>
          <dgm:chMax val="1"/>
          <dgm:chPref val="1"/>
        </dgm:presLayoutVars>
      </dgm:prSet>
      <dgm:spPr/>
    </dgm:pt>
    <dgm:pt modelId="{86D74E63-73EF-40EA-BF79-3F6080FB5FDA}" type="pres">
      <dgm:prSet presAssocID="{4B5D2C1F-A715-4DC7-8EE5-104D5F882C29}" presName="sibTrans" presStyleLbl="sibTrans2D1" presStyleIdx="0" presStyleCnt="0"/>
      <dgm:spPr/>
    </dgm:pt>
    <dgm:pt modelId="{56186D21-6BA1-4D13-9755-7EEB67D4A881}" type="pres">
      <dgm:prSet presAssocID="{E8AF776E-AFDF-4B40-9FCC-5B3B1A483B98}" presName="compNode" presStyleCnt="0"/>
      <dgm:spPr/>
    </dgm:pt>
    <dgm:pt modelId="{85792F6C-B25B-4ED3-B5DF-3E65F8D76D41}" type="pres">
      <dgm:prSet presAssocID="{E8AF776E-AFDF-4B40-9FCC-5B3B1A483B98}" presName="iconBgRect" presStyleLbl="bgShp" presStyleIdx="4" presStyleCnt="6"/>
      <dgm:spPr/>
    </dgm:pt>
    <dgm:pt modelId="{9E61ACAA-093C-4126-9028-D2C9E4467052}" type="pres">
      <dgm:prSet presAssocID="{E8AF776E-AFDF-4B40-9FCC-5B3B1A483B98}" presName="iconRect" presStyleLbl="node1" presStyleIdx="4" presStyleCnt="6"/>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Checkmark"/>
        </a:ext>
      </dgm:extLst>
    </dgm:pt>
    <dgm:pt modelId="{83AF7BC8-2A8D-47F4-BA6D-97AED670CC08}" type="pres">
      <dgm:prSet presAssocID="{E8AF776E-AFDF-4B40-9FCC-5B3B1A483B98}" presName="spaceRect" presStyleCnt="0"/>
      <dgm:spPr/>
    </dgm:pt>
    <dgm:pt modelId="{62E28CF7-5497-41E9-B080-0CA0D33E5543}" type="pres">
      <dgm:prSet presAssocID="{E8AF776E-AFDF-4B40-9FCC-5B3B1A483B98}" presName="textRect" presStyleLbl="revTx" presStyleIdx="4" presStyleCnt="6">
        <dgm:presLayoutVars>
          <dgm:chMax val="1"/>
          <dgm:chPref val="1"/>
        </dgm:presLayoutVars>
      </dgm:prSet>
      <dgm:spPr/>
    </dgm:pt>
    <dgm:pt modelId="{50A5B479-A3B7-4443-A797-08254678827B}" type="pres">
      <dgm:prSet presAssocID="{96DE16A6-671E-4EAB-B83E-7601EC9C1E31}" presName="sibTrans" presStyleLbl="sibTrans2D1" presStyleIdx="0" presStyleCnt="0"/>
      <dgm:spPr/>
    </dgm:pt>
    <dgm:pt modelId="{5F31ED29-1A70-4A32-85B6-BD7024D4ACD0}" type="pres">
      <dgm:prSet presAssocID="{063C936F-BB00-4E58-BB69-F03259CF365F}" presName="compNode" presStyleCnt="0"/>
      <dgm:spPr/>
    </dgm:pt>
    <dgm:pt modelId="{DD837F10-5575-40FE-A22B-02F8A1301327}" type="pres">
      <dgm:prSet presAssocID="{063C936F-BB00-4E58-BB69-F03259CF365F}" presName="iconBgRect" presStyleLbl="bgShp" presStyleIdx="5" presStyleCnt="6"/>
      <dgm:spPr/>
    </dgm:pt>
    <dgm:pt modelId="{98DFFB24-AD2C-4786-9935-1E06FE5DFDCF}" type="pres">
      <dgm:prSet presAssocID="{063C936F-BB00-4E58-BB69-F03259CF365F}" presName="iconRect" presStyleLbl="node1" presStyleIdx="5" presStyleCnt="6"/>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dgm:spPr>
      <dgm:extLst>
        <a:ext uri="{E40237B7-FDA0-4F09-8148-C483321AD2D9}">
          <dgm14:cNvPr xmlns:dgm14="http://schemas.microsoft.com/office/drawing/2010/diagram" id="0" name="" descr="Chat"/>
        </a:ext>
      </dgm:extLst>
    </dgm:pt>
    <dgm:pt modelId="{6835ACA1-DCBE-4528-8FF6-A599EAC6C7E5}" type="pres">
      <dgm:prSet presAssocID="{063C936F-BB00-4E58-BB69-F03259CF365F}" presName="spaceRect" presStyleCnt="0"/>
      <dgm:spPr/>
    </dgm:pt>
    <dgm:pt modelId="{A0F80422-6079-430D-9B8D-1A155451C2D4}" type="pres">
      <dgm:prSet presAssocID="{063C936F-BB00-4E58-BB69-F03259CF365F}" presName="textRect" presStyleLbl="revTx" presStyleIdx="5" presStyleCnt="6">
        <dgm:presLayoutVars>
          <dgm:chMax val="1"/>
          <dgm:chPref val="1"/>
        </dgm:presLayoutVars>
      </dgm:prSet>
      <dgm:spPr/>
    </dgm:pt>
  </dgm:ptLst>
  <dgm:cxnLst>
    <dgm:cxn modelId="{2DB4CF06-7B80-46DA-9F5D-3F32D8F5BFED}" type="presOf" srcId="{063C936F-BB00-4E58-BB69-F03259CF365F}" destId="{A0F80422-6079-430D-9B8D-1A155451C2D4}" srcOrd="0" destOrd="0" presId="urn:microsoft.com/office/officeart/2018/2/layout/IconCircleList"/>
    <dgm:cxn modelId="{0529491A-20F9-4331-B9CC-E708518DDFB7}" type="presOf" srcId="{F6712035-D929-461B-B434-A1B3257E62EF}" destId="{EDE668BA-2340-4E9A-AFD5-E844996E8809}" srcOrd="0" destOrd="0" presId="urn:microsoft.com/office/officeart/2018/2/layout/IconCircleList"/>
    <dgm:cxn modelId="{29048F26-6128-41DC-9D6F-17A4A03DB7C1}" type="presOf" srcId="{E8AF776E-AFDF-4B40-9FCC-5B3B1A483B98}" destId="{62E28CF7-5497-41E9-B080-0CA0D33E5543}" srcOrd="0" destOrd="0" presId="urn:microsoft.com/office/officeart/2018/2/layout/IconCircleList"/>
    <dgm:cxn modelId="{FDC2082D-F4D9-45F1-8B6D-4B9025390EC3}" type="presOf" srcId="{09B47623-3A81-495C-8B88-FFDE25FB1C12}" destId="{7D76AD23-5F2E-4880-9BC0-A64D1E9A4CDB}" srcOrd="0" destOrd="0" presId="urn:microsoft.com/office/officeart/2018/2/layout/IconCircleList"/>
    <dgm:cxn modelId="{FF9B1239-94E2-4D8C-A932-A614963C4FAA}" type="presOf" srcId="{4B5D2C1F-A715-4DC7-8EE5-104D5F882C29}" destId="{86D74E63-73EF-40EA-BF79-3F6080FB5FDA}" srcOrd="0" destOrd="0" presId="urn:microsoft.com/office/officeart/2018/2/layout/IconCircleList"/>
    <dgm:cxn modelId="{33FF356D-064A-487C-8376-F891912707E4}" type="presOf" srcId="{FE666A78-56A5-479A-9677-975EBE302B67}" destId="{6286E18B-B3E9-45E2-9BB7-5BC2936BDF1D}" srcOrd="0" destOrd="0" presId="urn:microsoft.com/office/officeart/2018/2/layout/IconCircleList"/>
    <dgm:cxn modelId="{2A38A693-D43E-4A6C-A101-78465B4D6805}" type="presOf" srcId="{F4947508-E26A-4B7B-A112-C64009B37F2F}" destId="{E80DD74D-E412-4985-BB79-D508D786D3EE}" srcOrd="0" destOrd="0" presId="urn:microsoft.com/office/officeart/2018/2/layout/IconCircleList"/>
    <dgm:cxn modelId="{0A121697-30BA-4250-AC6F-476A1F780443}" type="presOf" srcId="{96DE16A6-671E-4EAB-B83E-7601EC9C1E31}" destId="{50A5B479-A3B7-4443-A797-08254678827B}" srcOrd="0" destOrd="0" presId="urn:microsoft.com/office/officeart/2018/2/layout/IconCircleList"/>
    <dgm:cxn modelId="{BDECC9A4-28BE-4B2C-AB04-F25474403AE3}" srcId="{33037FF7-52C8-4474-BCE8-8244E53E36D4}" destId="{F4947508-E26A-4B7B-A112-C64009B37F2F}" srcOrd="3" destOrd="0" parTransId="{9B826DFE-057A-4FB1-AD28-C7DC7D864F19}" sibTransId="{4B5D2C1F-A715-4DC7-8EE5-104D5F882C29}"/>
    <dgm:cxn modelId="{DAC87FAB-399C-4BE2-89B9-E28CDCA949D1}" srcId="{33037FF7-52C8-4474-BCE8-8244E53E36D4}" destId="{F8AD9F07-DC0B-4663-BB5E-E654C4683141}" srcOrd="2" destOrd="0" parTransId="{565A03BC-28C3-432A-A86F-17078C721CB7}" sibTransId="{D212F93E-43FA-4B2F-815E-80E4622EF7F7}"/>
    <dgm:cxn modelId="{624D20B9-A56C-4A21-97CF-262590013C74}" type="presOf" srcId="{95A6F821-0BF7-4D4B-8FEC-660974C31068}" destId="{B3E34345-EDC8-4441-AE6C-7DF4AB9A268D}" srcOrd="0" destOrd="0" presId="urn:microsoft.com/office/officeart/2018/2/layout/IconCircleList"/>
    <dgm:cxn modelId="{4FFCC5BF-DA98-4B73-BC43-F9D11A8CF456}" type="presOf" srcId="{D212F93E-43FA-4B2F-815E-80E4622EF7F7}" destId="{CC822574-D57A-4FE9-A710-5B159F4DE599}" srcOrd="0" destOrd="0" presId="urn:microsoft.com/office/officeart/2018/2/layout/IconCircleList"/>
    <dgm:cxn modelId="{4F7CE7C6-8118-472C-9B35-4E1A3102DD37}" srcId="{33037FF7-52C8-4474-BCE8-8244E53E36D4}" destId="{F6712035-D929-461B-B434-A1B3257E62EF}" srcOrd="0" destOrd="0" parTransId="{F2534302-A028-4143-A18D-E7D8A033A440}" sibTransId="{95A6F821-0BF7-4D4B-8FEC-660974C31068}"/>
    <dgm:cxn modelId="{73449ECE-1076-4559-90F2-0CE4E56D9ECF}" srcId="{33037FF7-52C8-4474-BCE8-8244E53E36D4}" destId="{09B47623-3A81-495C-8B88-FFDE25FB1C12}" srcOrd="1" destOrd="0" parTransId="{511A5534-6A1E-4C97-BBDA-242C7DD932E1}" sibTransId="{FE666A78-56A5-479A-9677-975EBE302B67}"/>
    <dgm:cxn modelId="{4AC2F3DE-C670-45E8-BA7C-E7B68DF7FC61}" srcId="{33037FF7-52C8-4474-BCE8-8244E53E36D4}" destId="{063C936F-BB00-4E58-BB69-F03259CF365F}" srcOrd="5" destOrd="0" parTransId="{B25958FE-F285-45B1-8B80-F8C128121A3E}" sibTransId="{DF08ADCE-D4CA-4028-BFC7-D45021EA295B}"/>
    <dgm:cxn modelId="{9A62B0E0-1BE3-429B-B330-23BC5536D6D9}" type="presOf" srcId="{F8AD9F07-DC0B-4663-BB5E-E654C4683141}" destId="{639BC5FC-06F6-4CCA-A0C8-ED9A19A5F73D}" srcOrd="0" destOrd="0" presId="urn:microsoft.com/office/officeart/2018/2/layout/IconCircleList"/>
    <dgm:cxn modelId="{1B7A7EE9-EFDB-4A05-9844-2A032BAD6F4C}" type="presOf" srcId="{33037FF7-52C8-4474-BCE8-8244E53E36D4}" destId="{5A981516-C234-4626-951D-F8088322A5ED}" srcOrd="0" destOrd="0" presId="urn:microsoft.com/office/officeart/2018/2/layout/IconCircleList"/>
    <dgm:cxn modelId="{E70F79EA-5024-4F44-8ECE-E54D87269F63}" srcId="{33037FF7-52C8-4474-BCE8-8244E53E36D4}" destId="{E8AF776E-AFDF-4B40-9FCC-5B3B1A483B98}" srcOrd="4" destOrd="0" parTransId="{C73BB029-D34B-45E8-BE0A-BBCB9145A319}" sibTransId="{96DE16A6-671E-4EAB-B83E-7601EC9C1E31}"/>
    <dgm:cxn modelId="{C33B2E4C-DAE9-401F-82EA-4F40B1E41C23}" type="presParOf" srcId="{5A981516-C234-4626-951D-F8088322A5ED}" destId="{18EE026B-D924-4731-838A-94533CA86B87}" srcOrd="0" destOrd="0" presId="urn:microsoft.com/office/officeart/2018/2/layout/IconCircleList"/>
    <dgm:cxn modelId="{988C681D-833C-4FE3-A110-CD26633ADD84}" type="presParOf" srcId="{18EE026B-D924-4731-838A-94533CA86B87}" destId="{1BB6D622-5C7E-4A09-901A-4F3AF1033203}" srcOrd="0" destOrd="0" presId="urn:microsoft.com/office/officeart/2018/2/layout/IconCircleList"/>
    <dgm:cxn modelId="{76145DC7-605E-4733-9BB7-7187D3CEADED}" type="presParOf" srcId="{1BB6D622-5C7E-4A09-901A-4F3AF1033203}" destId="{12636F45-938B-4525-908E-681336817BCB}" srcOrd="0" destOrd="0" presId="urn:microsoft.com/office/officeart/2018/2/layout/IconCircleList"/>
    <dgm:cxn modelId="{548A4FDD-787E-4D05-8C4A-A0D404053D22}" type="presParOf" srcId="{1BB6D622-5C7E-4A09-901A-4F3AF1033203}" destId="{0CE5FC25-44CC-4AE0-BCCC-F86FA716CA11}" srcOrd="1" destOrd="0" presId="urn:microsoft.com/office/officeart/2018/2/layout/IconCircleList"/>
    <dgm:cxn modelId="{3DAB4E81-2825-4D2B-9049-5B87752F9695}" type="presParOf" srcId="{1BB6D622-5C7E-4A09-901A-4F3AF1033203}" destId="{2BDC9349-FE9F-425C-8ED3-3576BE918664}" srcOrd="2" destOrd="0" presId="urn:microsoft.com/office/officeart/2018/2/layout/IconCircleList"/>
    <dgm:cxn modelId="{5CE11C73-DC47-49E0-A1B7-FA374226EA79}" type="presParOf" srcId="{1BB6D622-5C7E-4A09-901A-4F3AF1033203}" destId="{EDE668BA-2340-4E9A-AFD5-E844996E8809}" srcOrd="3" destOrd="0" presId="urn:microsoft.com/office/officeart/2018/2/layout/IconCircleList"/>
    <dgm:cxn modelId="{E44EF920-B678-4CAD-9B34-BC0A96A1AEAC}" type="presParOf" srcId="{18EE026B-D924-4731-838A-94533CA86B87}" destId="{B3E34345-EDC8-4441-AE6C-7DF4AB9A268D}" srcOrd="1" destOrd="0" presId="urn:microsoft.com/office/officeart/2018/2/layout/IconCircleList"/>
    <dgm:cxn modelId="{9A47F4F8-6EC9-4B6D-AE1A-1E56E7852499}" type="presParOf" srcId="{18EE026B-D924-4731-838A-94533CA86B87}" destId="{E86590D4-4B95-4935-937C-20E434F42238}" srcOrd="2" destOrd="0" presId="urn:microsoft.com/office/officeart/2018/2/layout/IconCircleList"/>
    <dgm:cxn modelId="{BF2DBBED-2156-4B89-8DC9-CA43D50F8324}" type="presParOf" srcId="{E86590D4-4B95-4935-937C-20E434F42238}" destId="{A2AA1B16-6472-438D-BA40-687729996721}" srcOrd="0" destOrd="0" presId="urn:microsoft.com/office/officeart/2018/2/layout/IconCircleList"/>
    <dgm:cxn modelId="{BFE21D2D-5304-43A0-9BBF-C5741ACFD51D}" type="presParOf" srcId="{E86590D4-4B95-4935-937C-20E434F42238}" destId="{7F8AFBB2-9582-436F-B8EF-FE6091979EB0}" srcOrd="1" destOrd="0" presId="urn:microsoft.com/office/officeart/2018/2/layout/IconCircleList"/>
    <dgm:cxn modelId="{AB0F1FA7-C265-406E-B78A-D5B9CE1FDF52}" type="presParOf" srcId="{E86590D4-4B95-4935-937C-20E434F42238}" destId="{0F5CB3EB-B0BF-4B1F-8B32-1B5CD9E33A11}" srcOrd="2" destOrd="0" presId="urn:microsoft.com/office/officeart/2018/2/layout/IconCircleList"/>
    <dgm:cxn modelId="{43D5D074-B16C-4A90-A070-9DCD574540B9}" type="presParOf" srcId="{E86590D4-4B95-4935-937C-20E434F42238}" destId="{7D76AD23-5F2E-4880-9BC0-A64D1E9A4CDB}" srcOrd="3" destOrd="0" presId="urn:microsoft.com/office/officeart/2018/2/layout/IconCircleList"/>
    <dgm:cxn modelId="{08F5BE35-01EB-4992-A0D1-C134591224AB}" type="presParOf" srcId="{18EE026B-D924-4731-838A-94533CA86B87}" destId="{6286E18B-B3E9-45E2-9BB7-5BC2936BDF1D}" srcOrd="3" destOrd="0" presId="urn:microsoft.com/office/officeart/2018/2/layout/IconCircleList"/>
    <dgm:cxn modelId="{D6DE7EB3-C31A-4D73-81B1-E702A2C5614C}" type="presParOf" srcId="{18EE026B-D924-4731-838A-94533CA86B87}" destId="{CC1120BC-4AD1-486E-B7DF-DE75C936A614}" srcOrd="4" destOrd="0" presId="urn:microsoft.com/office/officeart/2018/2/layout/IconCircleList"/>
    <dgm:cxn modelId="{1859A3E8-5D95-4F11-9EC8-AAF7D4A4D9E2}" type="presParOf" srcId="{CC1120BC-4AD1-486E-B7DF-DE75C936A614}" destId="{0A78D519-9B7E-4DB6-AA2A-E61909BB8023}" srcOrd="0" destOrd="0" presId="urn:microsoft.com/office/officeart/2018/2/layout/IconCircleList"/>
    <dgm:cxn modelId="{CCDC629D-1096-408C-8284-97CA2700DE00}" type="presParOf" srcId="{CC1120BC-4AD1-486E-B7DF-DE75C936A614}" destId="{1F208B14-AF27-419C-A31E-3FEBF2D2D5A5}" srcOrd="1" destOrd="0" presId="urn:microsoft.com/office/officeart/2018/2/layout/IconCircleList"/>
    <dgm:cxn modelId="{BD195D16-29F3-4EA6-A05F-F71C46E80EB8}" type="presParOf" srcId="{CC1120BC-4AD1-486E-B7DF-DE75C936A614}" destId="{9FF3E8F9-AC1B-4327-87F6-26D82605A1A6}" srcOrd="2" destOrd="0" presId="urn:microsoft.com/office/officeart/2018/2/layout/IconCircleList"/>
    <dgm:cxn modelId="{E0C3D779-D2A7-4A7D-8BB7-F5366A004C40}" type="presParOf" srcId="{CC1120BC-4AD1-486E-B7DF-DE75C936A614}" destId="{639BC5FC-06F6-4CCA-A0C8-ED9A19A5F73D}" srcOrd="3" destOrd="0" presId="urn:microsoft.com/office/officeart/2018/2/layout/IconCircleList"/>
    <dgm:cxn modelId="{E9D7121E-3F92-4572-8536-85C39A5A9F77}" type="presParOf" srcId="{18EE026B-D924-4731-838A-94533CA86B87}" destId="{CC822574-D57A-4FE9-A710-5B159F4DE599}" srcOrd="5" destOrd="0" presId="urn:microsoft.com/office/officeart/2018/2/layout/IconCircleList"/>
    <dgm:cxn modelId="{C88267E5-7765-4E15-A4A1-D718BEFA79DC}" type="presParOf" srcId="{18EE026B-D924-4731-838A-94533CA86B87}" destId="{1D8134B3-86F7-47D3-B126-6D2354352302}" srcOrd="6" destOrd="0" presId="urn:microsoft.com/office/officeart/2018/2/layout/IconCircleList"/>
    <dgm:cxn modelId="{02801F3E-663D-44E4-B7BF-782DFB6478ED}" type="presParOf" srcId="{1D8134B3-86F7-47D3-B126-6D2354352302}" destId="{0AF98EE8-4DFF-46C1-8F1D-69BF9C7C1376}" srcOrd="0" destOrd="0" presId="urn:microsoft.com/office/officeart/2018/2/layout/IconCircleList"/>
    <dgm:cxn modelId="{B10725BA-E9C3-4B07-9FE8-43663F6F9886}" type="presParOf" srcId="{1D8134B3-86F7-47D3-B126-6D2354352302}" destId="{6D3BA4C1-89BD-494E-BD6A-F86822F076DD}" srcOrd="1" destOrd="0" presId="urn:microsoft.com/office/officeart/2018/2/layout/IconCircleList"/>
    <dgm:cxn modelId="{441EC9FC-0CCE-4A03-931F-F787A64D2D8C}" type="presParOf" srcId="{1D8134B3-86F7-47D3-B126-6D2354352302}" destId="{2B0E6F24-0A93-42F5-83EE-048F16FA80E6}" srcOrd="2" destOrd="0" presId="urn:microsoft.com/office/officeart/2018/2/layout/IconCircleList"/>
    <dgm:cxn modelId="{82907A69-8AE8-4F67-BAF2-9AF6ED0CB0F1}" type="presParOf" srcId="{1D8134B3-86F7-47D3-B126-6D2354352302}" destId="{E80DD74D-E412-4985-BB79-D508D786D3EE}" srcOrd="3" destOrd="0" presId="urn:microsoft.com/office/officeart/2018/2/layout/IconCircleList"/>
    <dgm:cxn modelId="{C5A82E43-1DC0-4C49-B44A-2D66DD2D4758}" type="presParOf" srcId="{18EE026B-D924-4731-838A-94533CA86B87}" destId="{86D74E63-73EF-40EA-BF79-3F6080FB5FDA}" srcOrd="7" destOrd="0" presId="urn:microsoft.com/office/officeart/2018/2/layout/IconCircleList"/>
    <dgm:cxn modelId="{340EA927-6699-4C39-87E9-D2B2E0335BD1}" type="presParOf" srcId="{18EE026B-D924-4731-838A-94533CA86B87}" destId="{56186D21-6BA1-4D13-9755-7EEB67D4A881}" srcOrd="8" destOrd="0" presId="urn:microsoft.com/office/officeart/2018/2/layout/IconCircleList"/>
    <dgm:cxn modelId="{F7BB481F-97CB-4F90-BCB3-DE12D366E314}" type="presParOf" srcId="{56186D21-6BA1-4D13-9755-7EEB67D4A881}" destId="{85792F6C-B25B-4ED3-B5DF-3E65F8D76D41}" srcOrd="0" destOrd="0" presId="urn:microsoft.com/office/officeart/2018/2/layout/IconCircleList"/>
    <dgm:cxn modelId="{4DA59564-7835-4E1F-AC30-1B55AA757761}" type="presParOf" srcId="{56186D21-6BA1-4D13-9755-7EEB67D4A881}" destId="{9E61ACAA-093C-4126-9028-D2C9E4467052}" srcOrd="1" destOrd="0" presId="urn:microsoft.com/office/officeart/2018/2/layout/IconCircleList"/>
    <dgm:cxn modelId="{469F4261-B328-4439-A025-9B8BF9D0B015}" type="presParOf" srcId="{56186D21-6BA1-4D13-9755-7EEB67D4A881}" destId="{83AF7BC8-2A8D-47F4-BA6D-97AED670CC08}" srcOrd="2" destOrd="0" presId="urn:microsoft.com/office/officeart/2018/2/layout/IconCircleList"/>
    <dgm:cxn modelId="{AE7CE1BF-63AD-4B02-87AB-95131C3B2445}" type="presParOf" srcId="{56186D21-6BA1-4D13-9755-7EEB67D4A881}" destId="{62E28CF7-5497-41E9-B080-0CA0D33E5543}" srcOrd="3" destOrd="0" presId="urn:microsoft.com/office/officeart/2018/2/layout/IconCircleList"/>
    <dgm:cxn modelId="{C4CE1010-5C8D-4827-BAC5-E26D7C08B974}" type="presParOf" srcId="{18EE026B-D924-4731-838A-94533CA86B87}" destId="{50A5B479-A3B7-4443-A797-08254678827B}" srcOrd="9" destOrd="0" presId="urn:microsoft.com/office/officeart/2018/2/layout/IconCircleList"/>
    <dgm:cxn modelId="{7AD645BA-DA64-4A3E-9776-0A49AE2790EE}" type="presParOf" srcId="{18EE026B-D924-4731-838A-94533CA86B87}" destId="{5F31ED29-1A70-4A32-85B6-BD7024D4ACD0}" srcOrd="10" destOrd="0" presId="urn:microsoft.com/office/officeart/2018/2/layout/IconCircleList"/>
    <dgm:cxn modelId="{BDE88078-DA50-4180-AADC-23DB14F0EE66}" type="presParOf" srcId="{5F31ED29-1A70-4A32-85B6-BD7024D4ACD0}" destId="{DD837F10-5575-40FE-A22B-02F8A1301327}" srcOrd="0" destOrd="0" presId="urn:microsoft.com/office/officeart/2018/2/layout/IconCircleList"/>
    <dgm:cxn modelId="{7F79E41E-33FE-4E4A-81D2-318A45E7E361}" type="presParOf" srcId="{5F31ED29-1A70-4A32-85B6-BD7024D4ACD0}" destId="{98DFFB24-AD2C-4786-9935-1E06FE5DFDCF}" srcOrd="1" destOrd="0" presId="urn:microsoft.com/office/officeart/2018/2/layout/IconCircleList"/>
    <dgm:cxn modelId="{7DD482A7-7DE5-43D8-BD88-806A83D06A53}" type="presParOf" srcId="{5F31ED29-1A70-4A32-85B6-BD7024D4ACD0}" destId="{6835ACA1-DCBE-4528-8FF6-A599EAC6C7E5}" srcOrd="2" destOrd="0" presId="urn:microsoft.com/office/officeart/2018/2/layout/IconCircleList"/>
    <dgm:cxn modelId="{5CC22971-9272-449F-B301-68D780E18DD2}" type="presParOf" srcId="{5F31ED29-1A70-4A32-85B6-BD7024D4ACD0}" destId="{A0F80422-6079-430D-9B8D-1A155451C2D4}"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8DCA5369-4987-4395-B577-3F77808A3F83}" srcId="{FF36647C-5324-4D08-BDB9-3E9B48F20DD1}" destId="{782B7E6D-275E-44FE-B64E-CF4DCB18CE03}" srcOrd="2" destOrd="0" parTransId="{7E3DD2C2-FCF7-483B-BBFA-964A0E2EAC0C}" sibTransId="{7A44FBB3-0697-4CC5-A841-27A346413981}"/>
    <dgm:cxn modelId="{2F57F54B-CDA7-436D-9D93-937E560F07A7}" type="presOf" srcId="{888DC0D2-4444-40D9-B858-BFDAA4CDF353}" destId="{9645BC26-64C3-4BAD-BB69-975CFA0A023B}" srcOrd="0" destOrd="0" presId="urn:microsoft.com/office/officeart/2017/3/layout/DropPinTimeline"/>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C7566451-E4E4-4666-9F97-113B57CFD5DA}" srcId="{FF36647C-5324-4D08-BDB9-3E9B48F20DD1}" destId="{08572C69-19EE-42C6-BA4D-603CD7F3307B}" srcOrd="3" destOrd="0" parTransId="{F36C70AE-C5E9-45FD-B03D-266D24EF552D}" sibTransId="{82A263F1-86DA-4665-B566-AA56CDF4A9BB}"/>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a:t>This is a long initiative! We cannot do all of this work at once.</a:t>
          </a:r>
          <a:endParaRPr lang="en-US"/>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a:t>We will work together </a:t>
          </a:r>
          <a:r>
            <a:rPr lang="en-US" b="0" i="0">
              <a:latin typeface="Calibri" panose="020F0502020204030204"/>
            </a:rPr>
            <a:t>to </a:t>
          </a:r>
          <a:r>
            <a:rPr lang="en-US" b="0" i="0"/>
            <a:t>implement strategies one </a:t>
          </a:r>
          <a:r>
            <a:rPr lang="en-US" b="0" i="0">
              <a:latin typeface="Calibri" panose="020F0502020204030204"/>
            </a:rPr>
            <a:t>driver</a:t>
          </a:r>
          <a:r>
            <a:rPr lang="en-US" b="0" i="0"/>
            <a:t> at a time</a:t>
          </a:r>
          <a:endParaRPr lang="en-US"/>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a:t>Get started by working on implementing the 10 Steps Getting Started!</a:t>
          </a:r>
          <a:endParaRPr lang="en-US"/>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BC496F6D-40E9-4D5C-807D-C92DC8F3D788}" srcId="{D92D7955-ED37-4307-8B43-930E35497224}" destId="{30B4E765-1277-44DD-85D0-B84EAAE179A7}" srcOrd="1" destOrd="0" parTransId="{9135B828-5368-4CAD-9FAE-B80A5DD9E89D}" sibTransId="{CB06E9C3-8860-4A5C-8406-2F2AD2D887AE}"/>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dirty="0">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3</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2nd, 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dirty="0">
              <a:latin typeface="Calibri" panose="020F0502020204030204"/>
            </a:rPr>
            <a:t>ESSI Data Training Webinars</a:t>
          </a:r>
          <a:endParaRPr lang="en-US" dirty="0"/>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0" presStyleCnt="2"/>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0" presStyleCnt="5">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1" presStyleCnt="5"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1" presStyleCnt="2"/>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2" presStyleCnt="5"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3" presStyleCnt="5"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4" presStyleCnt="5" custScaleX="134560">
        <dgm:presLayoutVars>
          <dgm:bulletEnabled val="1"/>
        </dgm:presLayoutVars>
      </dgm:prSet>
      <dgm:spPr/>
    </dgm:pt>
  </dgm:ptLst>
  <dgm:cxnLst>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EA9DF543-0F70-4D58-9139-050B12A2E9A3}" type="presOf" srcId="{7F435329-FBED-4AA4-A84F-70D9E9A80178}" destId="{E4E686C1-FC9F-4B2F-8F63-DDC471B0DEB4}" srcOrd="0" destOrd="0" presId="urn:microsoft.com/office/officeart/2005/8/layout/lProcess3"/>
    <dgm:cxn modelId="{3E189249-B51E-4CE4-A1B6-4178EBF15B98}" srcId="{CE31CE2D-52AD-47EE-9F57-FF0C2AB9FBB8}" destId="{DD004FB2-A568-4C30-AA6F-36014AE077F5}" srcOrd="0"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08833E4E-590E-41B3-B60E-32CA8D41B3BB}" type="presOf" srcId="{27331272-1A14-4E80-B031-5AA5C5A02FFF}" destId="{4507A95F-1518-44E3-95D0-73A0EC79E6E5}" srcOrd="0" destOrd="0" presId="urn:microsoft.com/office/officeart/2005/8/layout/lProcess3"/>
    <dgm:cxn modelId="{1EE4B96F-D3CE-41C0-B64F-A59C0522927D}" type="presOf" srcId="{8987D20E-A147-4A43-925C-44077CAB82FE}" destId="{D8BA990C-EEA2-4E44-B076-9170393433C7}" srcOrd="0" destOrd="0" presId="urn:microsoft.com/office/officeart/2005/8/layout/lProcess3"/>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71EC6280-16E1-4C6C-81F2-7E46BE5E14E4}" type="presOf" srcId="{DD004FB2-A568-4C30-AA6F-36014AE077F5}" destId="{60962599-610D-41A6-A308-3C61676FA10F}" srcOrd="0" destOrd="0" presId="urn:microsoft.com/office/officeart/2005/8/layout/lProcess3"/>
    <dgm:cxn modelId="{6C2B5D94-C9C7-49DF-99FA-2421503D8635}" type="presOf" srcId="{80CD9FC5-84A2-4119-AE4E-1AD6DC2A6A90}" destId="{5D5075C0-CF76-44AB-9B25-E029186A86C7}" srcOrd="0" destOrd="0" presId="urn:microsoft.com/office/officeart/2005/8/layout/lProcess3"/>
    <dgm:cxn modelId="{49DE3DA2-09E1-4714-93B6-2DD2D749A3C6}" srcId="{80CD9FC5-84A2-4119-AE4E-1AD6DC2A6A90}" destId="{27331272-1A14-4E80-B031-5AA5C5A02FFF}" srcOrd="1" destOrd="0" parTransId="{122F1A91-902B-46B9-8338-EF09B86B28D2}" sibTransId="{D141C3BC-F34D-4A2E-BCBE-2D15C984B647}"/>
    <dgm:cxn modelId="{E30A13AC-96CB-4301-9A69-BB196C7FF54C}" type="presOf" srcId="{3D132738-1FFB-47B6-A01C-0E0BA5C84AF4}" destId="{40C493D5-84C5-414A-B25E-F0516F30F1DB}" srcOrd="0" destOrd="0" presId="urn:microsoft.com/office/officeart/2005/8/layout/lProcess3"/>
    <dgm:cxn modelId="{F19520BE-5918-4971-922F-78E4BDBC9852}"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1" destOrd="0" parTransId="{44C892A4-16B5-4D15-B018-7008CEF3E344}" sibTransId="{DD32E8B5-4713-4832-9F58-63A206E397CB}"/>
    <dgm:cxn modelId="{00C52EE9-D919-4C8A-8071-0B49EF3DACE2}" type="presParOf" srcId="{1AC9F623-2B54-4F8A-831B-0CFEB8F285F0}" destId="{D3E44863-7289-4C7F-A5F9-3F338DEA58F3}" srcOrd="0" destOrd="0" presId="urn:microsoft.com/office/officeart/2005/8/layout/lProcess3"/>
    <dgm:cxn modelId="{9625B17A-A796-4A1D-9B6B-1609998A6C4D}" type="presParOf" srcId="{D3E44863-7289-4C7F-A5F9-3F338DEA58F3}" destId="{60962599-610D-41A6-A308-3C61676FA10F}" srcOrd="0" destOrd="0" presId="urn:microsoft.com/office/officeart/2005/8/layout/lProcess3"/>
    <dgm:cxn modelId="{E6DEB683-D260-443F-938C-F3E1E47ACD9E}" type="presParOf" srcId="{D3E44863-7289-4C7F-A5F9-3F338DEA58F3}" destId="{7B006ADB-7AD9-4CA9-AB29-0B37917A63E6}" srcOrd="1" destOrd="0" presId="urn:microsoft.com/office/officeart/2005/8/layout/lProcess3"/>
    <dgm:cxn modelId="{E4E0A1CC-8E8F-4365-88DF-6FE5AE7D3EAF}" type="presParOf" srcId="{D3E44863-7289-4C7F-A5F9-3F338DEA58F3}" destId="{40C493D5-84C5-414A-B25E-F0516F30F1DB}" srcOrd="2" destOrd="0" presId="urn:microsoft.com/office/officeart/2005/8/layout/lProcess3"/>
    <dgm:cxn modelId="{FD3F7186-EA0A-4FFB-9C43-4CDB3D56E69B}" type="presParOf" srcId="{D3E44863-7289-4C7F-A5F9-3F338DEA58F3}" destId="{F5C0DCC4-DF73-4790-9CF8-ACC7AEF01C85}" srcOrd="3" destOrd="0" presId="urn:microsoft.com/office/officeart/2005/8/layout/lProcess3"/>
    <dgm:cxn modelId="{D662CC0D-8C59-4EBA-992F-3AD6FA80805B}" type="presParOf" srcId="{D3E44863-7289-4C7F-A5F9-3F338DEA58F3}" destId="{E4E686C1-FC9F-4B2F-8F63-DDC471B0DEB4}" srcOrd="4" destOrd="0" presId="urn:microsoft.com/office/officeart/2005/8/layout/lProcess3"/>
    <dgm:cxn modelId="{25002B03-C166-4C10-A334-FF1901CAAAD0}" type="presParOf" srcId="{1AC9F623-2B54-4F8A-831B-0CFEB8F285F0}" destId="{02C85D75-F0CF-4656-9A04-F9D649821F56}" srcOrd="1" destOrd="0" presId="urn:microsoft.com/office/officeart/2005/8/layout/lProcess3"/>
    <dgm:cxn modelId="{DAEC0F58-18A8-41B3-BBA1-1D7944F01C98}" type="presParOf" srcId="{1AC9F623-2B54-4F8A-831B-0CFEB8F285F0}" destId="{A5B46316-F840-4195-86CF-FCB8623A496A}" srcOrd="2" destOrd="0" presId="urn:microsoft.com/office/officeart/2005/8/layout/lProcess3"/>
    <dgm:cxn modelId="{D786704F-F1AB-4FF1-9AD0-9FC52D0FFD31}" type="presParOf" srcId="{A5B46316-F840-4195-86CF-FCB8623A496A}" destId="{5D5075C0-CF76-44AB-9B25-E029186A86C7}" srcOrd="0" destOrd="0" presId="urn:microsoft.com/office/officeart/2005/8/layout/lProcess3"/>
    <dgm:cxn modelId="{83C2202F-162C-4662-8777-CDC93BF9E293}" type="presParOf" srcId="{A5B46316-F840-4195-86CF-FCB8623A496A}" destId="{A535F8AE-7CBE-4C20-8A04-B0949F1BDC20}" srcOrd="1" destOrd="0" presId="urn:microsoft.com/office/officeart/2005/8/layout/lProcess3"/>
    <dgm:cxn modelId="{28FE520F-F3CA-4609-BDA3-41DDE28CF16A}" type="presParOf" srcId="{A5B46316-F840-4195-86CF-FCB8623A496A}" destId="{DBA3233D-396D-4828-ABB1-05C8FA826E94}" srcOrd="2" destOrd="0" presId="urn:microsoft.com/office/officeart/2005/8/layout/lProcess3"/>
    <dgm:cxn modelId="{834A2292-1DA0-4775-9BA4-E89F55E80399}" type="presParOf" srcId="{A5B46316-F840-4195-86CF-FCB8623A496A}" destId="{5767BAFD-75A5-43CA-B5AA-360BDD57BF97}" srcOrd="3" destOrd="0" presId="urn:microsoft.com/office/officeart/2005/8/layout/lProcess3"/>
    <dgm:cxn modelId="{5379B382-CAA2-4635-B0FA-A2ADD2FCD77F}" type="presParOf" srcId="{A5B46316-F840-4195-86CF-FCB8623A496A}" destId="{4507A95F-1518-44E3-95D0-73A0EC79E6E5}" srcOrd="4" destOrd="0" presId="urn:microsoft.com/office/officeart/2005/8/layout/lProcess3"/>
    <dgm:cxn modelId="{554F88F6-819B-40CC-BCBD-042369A597F7}" type="presParOf" srcId="{A5B46316-F840-4195-86CF-FCB8623A496A}" destId="{0EC2BE38-4523-4232-97BE-604EF5DE0027}" srcOrd="5" destOrd="0" presId="urn:microsoft.com/office/officeart/2005/8/layout/lProcess3"/>
    <dgm:cxn modelId="{C2776F8D-3CE1-42B0-AC83-C8F4408B1D80}"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70A0707-0F8F-40A1-A91A-D27405BECFC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EE8F3D3-C75F-4B02-B0E2-6D95973DC235}">
      <dgm:prSet/>
      <dgm:spPr/>
      <dgm:t>
        <a:bodyPr/>
        <a:lstStyle/>
        <a:p>
          <a:r>
            <a:rPr lang="en-US" b="0" i="0"/>
            <a:t>At your first meeting discuss</a:t>
          </a:r>
          <a:r>
            <a:rPr lang="en-US" b="0" i="0">
              <a:latin typeface="Calibri" panose="020F0502020204030204"/>
            </a:rPr>
            <a:t>:</a:t>
          </a:r>
          <a:endParaRPr lang="en-US"/>
        </a:p>
      </dgm:t>
    </dgm:pt>
    <dgm:pt modelId="{9F5EB168-EC81-4D8B-94C9-CF8A9A4AEABB}" type="parTrans" cxnId="{3BD7C13F-2FC0-498A-9079-4EBF33EB3ED3}">
      <dgm:prSet/>
      <dgm:spPr/>
      <dgm:t>
        <a:bodyPr/>
        <a:lstStyle/>
        <a:p>
          <a:endParaRPr lang="en-US"/>
        </a:p>
      </dgm:t>
    </dgm:pt>
    <dgm:pt modelId="{C1C76F62-26E8-414A-96B0-870A64471EAD}" type="sibTrans" cxnId="{3BD7C13F-2FC0-498A-9079-4EBF33EB3ED3}">
      <dgm:prSet/>
      <dgm:spPr/>
      <dgm:t>
        <a:bodyPr/>
        <a:lstStyle/>
        <a:p>
          <a:endParaRPr lang="en-US"/>
        </a:p>
      </dgm:t>
    </dgm:pt>
    <dgm:pt modelId="{139A5F22-CE4C-4A7F-8076-89CC67B51D83}">
      <dgm:prSet/>
      <dgm:spPr/>
      <dgm:t>
        <a:bodyPr/>
        <a:lstStyle/>
        <a:p>
          <a:pPr rtl="0"/>
          <a:r>
            <a:rPr lang="en-US" b="0" i="0"/>
            <a:t>How often?</a:t>
          </a:r>
          <a:r>
            <a:rPr lang="en-US" b="0" i="0">
              <a:latin typeface="Calibri" panose="020F0502020204030204"/>
            </a:rPr>
            <a:t> </a:t>
          </a:r>
          <a:endParaRPr lang="en-US"/>
        </a:p>
      </dgm:t>
    </dgm:pt>
    <dgm:pt modelId="{4EA5A93E-19C5-4B8D-A7DA-A89E0E5F528C}" type="parTrans" cxnId="{BD7A3674-DCB2-4CF8-BC1F-1ADECDF2C88F}">
      <dgm:prSet/>
      <dgm:spPr/>
      <dgm:t>
        <a:bodyPr/>
        <a:lstStyle/>
        <a:p>
          <a:endParaRPr lang="en-US"/>
        </a:p>
      </dgm:t>
    </dgm:pt>
    <dgm:pt modelId="{957291DF-8A10-4689-9BC6-6063034625EA}" type="sibTrans" cxnId="{BD7A3674-DCB2-4CF8-BC1F-1ADECDF2C88F}">
      <dgm:prSet/>
      <dgm:spPr/>
      <dgm:t>
        <a:bodyPr/>
        <a:lstStyle/>
        <a:p>
          <a:endParaRPr lang="en-US"/>
        </a:p>
      </dgm:t>
    </dgm:pt>
    <dgm:pt modelId="{D2CDD9E2-9DE1-4E99-979E-4C6F3642AF85}">
      <dgm:prSet/>
      <dgm:spPr/>
      <dgm:t>
        <a:bodyPr/>
        <a:lstStyle/>
        <a:p>
          <a:r>
            <a:rPr lang="en-US" b="0" i="0"/>
            <a:t>Who should join?</a:t>
          </a:r>
          <a:endParaRPr lang="en-US"/>
        </a:p>
      </dgm:t>
    </dgm:pt>
    <dgm:pt modelId="{477D43F0-E9BE-4BF9-9143-BA574AA3CD5A}" type="parTrans" cxnId="{50C97EC6-A4A9-440E-9225-43FDE77CDDCA}">
      <dgm:prSet/>
      <dgm:spPr/>
      <dgm:t>
        <a:bodyPr/>
        <a:lstStyle/>
        <a:p>
          <a:endParaRPr lang="en-US"/>
        </a:p>
      </dgm:t>
    </dgm:pt>
    <dgm:pt modelId="{525B4D8E-79EF-4DD1-9DE8-3E727D9D876F}" type="sibTrans" cxnId="{50C97EC6-A4A9-440E-9225-43FDE77CDDCA}">
      <dgm:prSet/>
      <dgm:spPr/>
      <dgm:t>
        <a:bodyPr/>
        <a:lstStyle/>
        <a:p>
          <a:endParaRPr lang="en-US"/>
        </a:p>
      </dgm:t>
    </dgm:pt>
    <dgm:pt modelId="{6A016A0F-5A6D-4D60-B6D3-EB0CE24D2BA2}">
      <dgm:prSet/>
      <dgm:spPr/>
      <dgm:t>
        <a:bodyPr/>
        <a:lstStyle/>
        <a:p>
          <a:r>
            <a:rPr lang="en-US" b="1" i="0" u="sng"/>
            <a:t>Tips from Teams at AC:</a:t>
          </a:r>
          <a:endParaRPr lang="en-US"/>
        </a:p>
      </dgm:t>
    </dgm:pt>
    <dgm:pt modelId="{BF8A122C-BEC6-4D22-B7A3-3077B4259DDC}" type="parTrans" cxnId="{CB30E1F2-A8F3-402C-8012-00957D44A51A}">
      <dgm:prSet/>
      <dgm:spPr/>
      <dgm:t>
        <a:bodyPr/>
        <a:lstStyle/>
        <a:p>
          <a:endParaRPr lang="en-US"/>
        </a:p>
      </dgm:t>
    </dgm:pt>
    <dgm:pt modelId="{FD115C82-AB22-4B33-8DF4-212DFC4ED00C}" type="sibTrans" cxnId="{CB30E1F2-A8F3-402C-8012-00957D44A51A}">
      <dgm:prSet/>
      <dgm:spPr/>
      <dgm:t>
        <a:bodyPr/>
        <a:lstStyle/>
        <a:p>
          <a:endParaRPr lang="en-US"/>
        </a:p>
      </dgm:t>
    </dgm:pt>
    <dgm:pt modelId="{47DC7698-2F7B-4527-ABD3-AB2F1616EBA0}">
      <dgm:prSet/>
      <dgm:spPr/>
      <dgm:t>
        <a:bodyPr/>
        <a:lstStyle/>
        <a:p>
          <a:r>
            <a:rPr lang="en-US" b="0" i="0"/>
            <a:t>Schedule meetings on the same day and time</a:t>
          </a:r>
          <a:endParaRPr lang="en-US"/>
        </a:p>
      </dgm:t>
    </dgm:pt>
    <dgm:pt modelId="{4AD3FF56-6A1C-43FF-8228-DF0FB2D8B0FE}" type="parTrans" cxnId="{B2346ED4-C43F-4F5F-9C5F-F8525F110DC6}">
      <dgm:prSet/>
      <dgm:spPr/>
      <dgm:t>
        <a:bodyPr/>
        <a:lstStyle/>
        <a:p>
          <a:endParaRPr lang="en-US"/>
        </a:p>
      </dgm:t>
    </dgm:pt>
    <dgm:pt modelId="{C85AB96B-AA22-45BC-B149-ED45414D63F5}" type="sibTrans" cxnId="{B2346ED4-C43F-4F5F-9C5F-F8525F110DC6}">
      <dgm:prSet/>
      <dgm:spPr/>
      <dgm:t>
        <a:bodyPr/>
        <a:lstStyle/>
        <a:p>
          <a:endParaRPr lang="en-US"/>
        </a:p>
      </dgm:t>
    </dgm:pt>
    <dgm:pt modelId="{90DD9897-92D8-4F57-AE9D-4F385590DA86}">
      <dgm:prSet/>
      <dgm:spPr/>
      <dgm:t>
        <a:bodyPr/>
        <a:lstStyle/>
        <a:p>
          <a:pPr rtl="0"/>
          <a:r>
            <a:rPr lang="en-US" b="0" i="0"/>
            <a:t>Set a time limit</a:t>
          </a:r>
          <a:r>
            <a:rPr lang="en-US" b="0" i="0">
              <a:latin typeface="Calibri" panose="020F0502020204030204"/>
            </a:rPr>
            <a:t> </a:t>
          </a:r>
          <a:endParaRPr lang="en-US"/>
        </a:p>
      </dgm:t>
    </dgm:pt>
    <dgm:pt modelId="{CD4FD024-1BE8-44C8-AFA2-EE19C360D8E4}" type="parTrans" cxnId="{AEFE5911-90A8-48D4-ACFC-D7A54617685E}">
      <dgm:prSet/>
      <dgm:spPr/>
      <dgm:t>
        <a:bodyPr/>
        <a:lstStyle/>
        <a:p>
          <a:endParaRPr lang="en-US"/>
        </a:p>
      </dgm:t>
    </dgm:pt>
    <dgm:pt modelId="{CB7EEF1D-AE1D-4A77-B6BC-6C493419A0CD}" type="sibTrans" cxnId="{AEFE5911-90A8-48D4-ACFC-D7A54617685E}">
      <dgm:prSet/>
      <dgm:spPr/>
      <dgm:t>
        <a:bodyPr/>
        <a:lstStyle/>
        <a:p>
          <a:endParaRPr lang="en-US"/>
        </a:p>
      </dgm:t>
    </dgm:pt>
    <dgm:pt modelId="{EE4FA855-2656-4259-916B-324B92DB6848}">
      <dgm:prSet/>
      <dgm:spPr/>
      <dgm:t>
        <a:bodyPr/>
        <a:lstStyle/>
        <a:p>
          <a:pPr rtl="0"/>
          <a:r>
            <a:rPr lang="en-US" b="0" i="0"/>
            <a:t>Have an agenda and state meeting objectives</a:t>
          </a:r>
          <a:r>
            <a:rPr lang="en-US" b="0" i="0">
              <a:latin typeface="Calibri" panose="020F0502020204030204"/>
            </a:rPr>
            <a:t> </a:t>
          </a:r>
          <a:endParaRPr lang="en-US"/>
        </a:p>
      </dgm:t>
    </dgm:pt>
    <dgm:pt modelId="{BE4C6C55-EE54-4D2D-98BB-8476728973BD}" type="parTrans" cxnId="{BD825141-D061-4CD1-AB83-57BB0F717314}">
      <dgm:prSet/>
      <dgm:spPr/>
      <dgm:t>
        <a:bodyPr/>
        <a:lstStyle/>
        <a:p>
          <a:endParaRPr lang="en-US"/>
        </a:p>
      </dgm:t>
    </dgm:pt>
    <dgm:pt modelId="{09A10FEC-FCF5-45FA-951D-7A04037848DE}" type="sibTrans" cxnId="{BD825141-D061-4CD1-AB83-57BB0F717314}">
      <dgm:prSet/>
      <dgm:spPr/>
      <dgm:t>
        <a:bodyPr/>
        <a:lstStyle/>
        <a:p>
          <a:endParaRPr lang="en-US"/>
        </a:p>
      </dgm:t>
    </dgm:pt>
    <dgm:pt modelId="{3BFA2CAB-90F4-4D2D-BA7F-E282870BF99F}">
      <dgm:prSet/>
      <dgm:spPr/>
      <dgm:t>
        <a:bodyPr/>
        <a:lstStyle/>
        <a:p>
          <a:pPr rtl="0"/>
          <a:r>
            <a:rPr lang="en-US" b="0" i="0"/>
            <a:t>Review old news and achievements in the beginning</a:t>
          </a:r>
          <a:r>
            <a:rPr lang="en-US" b="0" i="0">
              <a:latin typeface="Calibri" panose="020F0502020204030204"/>
            </a:rPr>
            <a:t> </a:t>
          </a:r>
          <a:endParaRPr lang="en-US"/>
        </a:p>
      </dgm:t>
    </dgm:pt>
    <dgm:pt modelId="{94D6F4E7-09A7-42A8-8668-B18838C7151D}" type="parTrans" cxnId="{ABA11102-995D-4DC6-9C24-D08EA06D222E}">
      <dgm:prSet/>
      <dgm:spPr/>
      <dgm:t>
        <a:bodyPr/>
        <a:lstStyle/>
        <a:p>
          <a:endParaRPr lang="en-US"/>
        </a:p>
      </dgm:t>
    </dgm:pt>
    <dgm:pt modelId="{F66870CD-0320-4B1E-BDE7-4B2A669BC255}" type="sibTrans" cxnId="{ABA11102-995D-4DC6-9C24-D08EA06D222E}">
      <dgm:prSet/>
      <dgm:spPr/>
      <dgm:t>
        <a:bodyPr/>
        <a:lstStyle/>
        <a:p>
          <a:endParaRPr lang="en-US"/>
        </a:p>
      </dgm:t>
    </dgm:pt>
    <dgm:pt modelId="{07A4E516-B104-47B0-B7A9-6BF4D27D6863}">
      <dgm:prSet/>
      <dgm:spPr/>
      <dgm:t>
        <a:bodyPr/>
        <a:lstStyle/>
        <a:p>
          <a:r>
            <a:rPr lang="en-US" b="0" i="0"/>
            <a:t>Ensure there are different ways to attend meetings- live, virtual, recording</a:t>
          </a:r>
          <a:endParaRPr lang="en-US"/>
        </a:p>
      </dgm:t>
    </dgm:pt>
    <dgm:pt modelId="{4A6587D6-6927-4F28-BA4C-2AE6A6D416C9}" type="parTrans" cxnId="{B6078621-30E1-45AD-8583-BA092101320F}">
      <dgm:prSet/>
      <dgm:spPr/>
      <dgm:t>
        <a:bodyPr/>
        <a:lstStyle/>
        <a:p>
          <a:endParaRPr lang="en-US"/>
        </a:p>
      </dgm:t>
    </dgm:pt>
    <dgm:pt modelId="{760666F3-8E87-4712-897C-BC8F3156E45D}" type="sibTrans" cxnId="{B6078621-30E1-45AD-8583-BA092101320F}">
      <dgm:prSet/>
      <dgm:spPr/>
      <dgm:t>
        <a:bodyPr/>
        <a:lstStyle/>
        <a:p>
          <a:endParaRPr lang="en-US"/>
        </a:p>
      </dgm:t>
    </dgm:pt>
    <dgm:pt modelId="{A431962B-81FE-4CB0-AE45-263D21CDC198}" type="pres">
      <dgm:prSet presAssocID="{970A0707-0F8F-40A1-A91A-D27405BECFC9}" presName="linear" presStyleCnt="0">
        <dgm:presLayoutVars>
          <dgm:animLvl val="lvl"/>
          <dgm:resizeHandles val="exact"/>
        </dgm:presLayoutVars>
      </dgm:prSet>
      <dgm:spPr/>
    </dgm:pt>
    <dgm:pt modelId="{35368261-AEE3-40EB-959D-B071339ABA87}" type="pres">
      <dgm:prSet presAssocID="{CEE8F3D3-C75F-4B02-B0E2-6D95973DC235}" presName="parentText" presStyleLbl="node1" presStyleIdx="0" presStyleCnt="2">
        <dgm:presLayoutVars>
          <dgm:chMax val="0"/>
          <dgm:bulletEnabled val="1"/>
        </dgm:presLayoutVars>
      </dgm:prSet>
      <dgm:spPr/>
    </dgm:pt>
    <dgm:pt modelId="{EEAA2F8B-9C2C-4C65-B6FA-D7485E5103E0}" type="pres">
      <dgm:prSet presAssocID="{CEE8F3D3-C75F-4B02-B0E2-6D95973DC235}" presName="childText" presStyleLbl="revTx" presStyleIdx="0" presStyleCnt="2">
        <dgm:presLayoutVars>
          <dgm:bulletEnabled val="1"/>
        </dgm:presLayoutVars>
      </dgm:prSet>
      <dgm:spPr/>
    </dgm:pt>
    <dgm:pt modelId="{5A7E119B-54DB-432A-88F7-7896131A6EC0}" type="pres">
      <dgm:prSet presAssocID="{6A016A0F-5A6D-4D60-B6D3-EB0CE24D2BA2}" presName="parentText" presStyleLbl="node1" presStyleIdx="1" presStyleCnt="2">
        <dgm:presLayoutVars>
          <dgm:chMax val="0"/>
          <dgm:bulletEnabled val="1"/>
        </dgm:presLayoutVars>
      </dgm:prSet>
      <dgm:spPr/>
    </dgm:pt>
    <dgm:pt modelId="{2E60D2F4-3711-4957-913D-3B8FDA1058CA}" type="pres">
      <dgm:prSet presAssocID="{6A016A0F-5A6D-4D60-B6D3-EB0CE24D2BA2}" presName="childText" presStyleLbl="revTx" presStyleIdx="1" presStyleCnt="2">
        <dgm:presLayoutVars>
          <dgm:bulletEnabled val="1"/>
        </dgm:presLayoutVars>
      </dgm:prSet>
      <dgm:spPr/>
    </dgm:pt>
  </dgm:ptLst>
  <dgm:cxnLst>
    <dgm:cxn modelId="{ABA11102-995D-4DC6-9C24-D08EA06D222E}" srcId="{6A016A0F-5A6D-4D60-B6D3-EB0CE24D2BA2}" destId="{3BFA2CAB-90F4-4D2D-BA7F-E282870BF99F}" srcOrd="3" destOrd="0" parTransId="{94D6F4E7-09A7-42A8-8668-B18838C7151D}" sibTransId="{F66870CD-0320-4B1E-BDE7-4B2A669BC255}"/>
    <dgm:cxn modelId="{AEFE5911-90A8-48D4-ACFC-D7A54617685E}" srcId="{6A016A0F-5A6D-4D60-B6D3-EB0CE24D2BA2}" destId="{90DD9897-92D8-4F57-AE9D-4F385590DA86}" srcOrd="1" destOrd="0" parTransId="{CD4FD024-1BE8-44C8-AFA2-EE19C360D8E4}" sibTransId="{CB7EEF1D-AE1D-4A77-B6BC-6C493419A0CD}"/>
    <dgm:cxn modelId="{157A4413-3B81-454E-8566-8BC48F1DEF6A}" type="presOf" srcId="{90DD9897-92D8-4F57-AE9D-4F385590DA86}" destId="{2E60D2F4-3711-4957-913D-3B8FDA1058CA}" srcOrd="0" destOrd="1" presId="urn:microsoft.com/office/officeart/2005/8/layout/vList2"/>
    <dgm:cxn modelId="{DB4AE118-075F-4EB2-8E67-0804A52CFC7D}" type="presOf" srcId="{D2CDD9E2-9DE1-4E99-979E-4C6F3642AF85}" destId="{EEAA2F8B-9C2C-4C65-B6FA-D7485E5103E0}" srcOrd="0" destOrd="1" presId="urn:microsoft.com/office/officeart/2005/8/layout/vList2"/>
    <dgm:cxn modelId="{B6078621-30E1-45AD-8583-BA092101320F}" srcId="{6A016A0F-5A6D-4D60-B6D3-EB0CE24D2BA2}" destId="{07A4E516-B104-47B0-B7A9-6BF4D27D6863}" srcOrd="4" destOrd="0" parTransId="{4A6587D6-6927-4F28-BA4C-2AE6A6D416C9}" sibTransId="{760666F3-8E87-4712-897C-BC8F3156E45D}"/>
    <dgm:cxn modelId="{03CB2B30-534C-45E1-8A88-5B20FAAB2001}" type="presOf" srcId="{6A016A0F-5A6D-4D60-B6D3-EB0CE24D2BA2}" destId="{5A7E119B-54DB-432A-88F7-7896131A6EC0}" srcOrd="0" destOrd="0" presId="urn:microsoft.com/office/officeart/2005/8/layout/vList2"/>
    <dgm:cxn modelId="{320F293C-FF04-4CD7-A6D2-441153399779}" type="presOf" srcId="{139A5F22-CE4C-4A7F-8076-89CC67B51D83}" destId="{EEAA2F8B-9C2C-4C65-B6FA-D7485E5103E0}" srcOrd="0" destOrd="0" presId="urn:microsoft.com/office/officeart/2005/8/layout/vList2"/>
    <dgm:cxn modelId="{3BD7C13F-2FC0-498A-9079-4EBF33EB3ED3}" srcId="{970A0707-0F8F-40A1-A91A-D27405BECFC9}" destId="{CEE8F3D3-C75F-4B02-B0E2-6D95973DC235}" srcOrd="0" destOrd="0" parTransId="{9F5EB168-EC81-4D8B-94C9-CF8A9A4AEABB}" sibTransId="{C1C76F62-26E8-414A-96B0-870A64471EAD}"/>
    <dgm:cxn modelId="{BD825141-D061-4CD1-AB83-57BB0F717314}" srcId="{6A016A0F-5A6D-4D60-B6D3-EB0CE24D2BA2}" destId="{EE4FA855-2656-4259-916B-324B92DB6848}" srcOrd="2" destOrd="0" parTransId="{BE4C6C55-EE54-4D2D-98BB-8476728973BD}" sibTransId="{09A10FEC-FCF5-45FA-951D-7A04037848DE}"/>
    <dgm:cxn modelId="{F1A38662-4B15-4912-A70A-C1207C3FD9D9}" type="presOf" srcId="{970A0707-0F8F-40A1-A91A-D27405BECFC9}" destId="{A431962B-81FE-4CB0-AE45-263D21CDC198}" srcOrd="0" destOrd="0" presId="urn:microsoft.com/office/officeart/2005/8/layout/vList2"/>
    <dgm:cxn modelId="{5FB7656C-43D9-4C16-9ED7-70488AAAA7F1}" type="presOf" srcId="{47DC7698-2F7B-4527-ABD3-AB2F1616EBA0}" destId="{2E60D2F4-3711-4957-913D-3B8FDA1058CA}" srcOrd="0" destOrd="0" presId="urn:microsoft.com/office/officeart/2005/8/layout/vList2"/>
    <dgm:cxn modelId="{81D5B16C-22FF-43C6-9EC7-86938D28F697}" type="presOf" srcId="{CEE8F3D3-C75F-4B02-B0E2-6D95973DC235}" destId="{35368261-AEE3-40EB-959D-B071339ABA87}" srcOrd="0" destOrd="0" presId="urn:microsoft.com/office/officeart/2005/8/layout/vList2"/>
    <dgm:cxn modelId="{7A666773-6605-4D99-917A-B682A8B9DC97}" type="presOf" srcId="{EE4FA855-2656-4259-916B-324B92DB6848}" destId="{2E60D2F4-3711-4957-913D-3B8FDA1058CA}" srcOrd="0" destOrd="2" presId="urn:microsoft.com/office/officeart/2005/8/layout/vList2"/>
    <dgm:cxn modelId="{BD7A3674-DCB2-4CF8-BC1F-1ADECDF2C88F}" srcId="{CEE8F3D3-C75F-4B02-B0E2-6D95973DC235}" destId="{139A5F22-CE4C-4A7F-8076-89CC67B51D83}" srcOrd="0" destOrd="0" parTransId="{4EA5A93E-19C5-4B8D-A7DA-A89E0E5F528C}" sibTransId="{957291DF-8A10-4689-9BC6-6063034625EA}"/>
    <dgm:cxn modelId="{D9FCFC90-4259-48AF-BAAF-09AC93E6D8EA}" type="presOf" srcId="{3BFA2CAB-90F4-4D2D-BA7F-E282870BF99F}" destId="{2E60D2F4-3711-4957-913D-3B8FDA1058CA}" srcOrd="0" destOrd="3" presId="urn:microsoft.com/office/officeart/2005/8/layout/vList2"/>
    <dgm:cxn modelId="{A7B487BD-C8A9-4F7E-A94B-B88295F5DED7}" type="presOf" srcId="{07A4E516-B104-47B0-B7A9-6BF4D27D6863}" destId="{2E60D2F4-3711-4957-913D-3B8FDA1058CA}" srcOrd="0" destOrd="4" presId="urn:microsoft.com/office/officeart/2005/8/layout/vList2"/>
    <dgm:cxn modelId="{50C97EC6-A4A9-440E-9225-43FDE77CDDCA}" srcId="{CEE8F3D3-C75F-4B02-B0E2-6D95973DC235}" destId="{D2CDD9E2-9DE1-4E99-979E-4C6F3642AF85}" srcOrd="1" destOrd="0" parTransId="{477D43F0-E9BE-4BF9-9143-BA574AA3CD5A}" sibTransId="{525B4D8E-79EF-4DD1-9DE8-3E727D9D876F}"/>
    <dgm:cxn modelId="{B2346ED4-C43F-4F5F-9C5F-F8525F110DC6}" srcId="{6A016A0F-5A6D-4D60-B6D3-EB0CE24D2BA2}" destId="{47DC7698-2F7B-4527-ABD3-AB2F1616EBA0}" srcOrd="0" destOrd="0" parTransId="{4AD3FF56-6A1C-43FF-8228-DF0FB2D8B0FE}" sibTransId="{C85AB96B-AA22-45BC-B149-ED45414D63F5}"/>
    <dgm:cxn modelId="{CB30E1F2-A8F3-402C-8012-00957D44A51A}" srcId="{970A0707-0F8F-40A1-A91A-D27405BECFC9}" destId="{6A016A0F-5A6D-4D60-B6D3-EB0CE24D2BA2}" srcOrd="1" destOrd="0" parTransId="{BF8A122C-BEC6-4D22-B7A3-3077B4259DDC}" sibTransId="{FD115C82-AB22-4B33-8DF4-212DFC4ED00C}"/>
    <dgm:cxn modelId="{14F976BF-413F-4929-8686-AD85AF6AA529}" type="presParOf" srcId="{A431962B-81FE-4CB0-AE45-263D21CDC198}" destId="{35368261-AEE3-40EB-959D-B071339ABA87}" srcOrd="0" destOrd="0" presId="urn:microsoft.com/office/officeart/2005/8/layout/vList2"/>
    <dgm:cxn modelId="{80B628EC-FC3F-4014-9892-FFFF5424814C}" type="presParOf" srcId="{A431962B-81FE-4CB0-AE45-263D21CDC198}" destId="{EEAA2F8B-9C2C-4C65-B6FA-D7485E5103E0}" srcOrd="1" destOrd="0" presId="urn:microsoft.com/office/officeart/2005/8/layout/vList2"/>
    <dgm:cxn modelId="{74F26EC3-BCEF-4DDA-81E6-7B4CF846C18A}" type="presParOf" srcId="{A431962B-81FE-4CB0-AE45-263D21CDC198}" destId="{5A7E119B-54DB-432A-88F7-7896131A6EC0}" srcOrd="2" destOrd="0" presId="urn:microsoft.com/office/officeart/2005/8/layout/vList2"/>
    <dgm:cxn modelId="{65D2F2B7-6E3F-4681-B279-8A7745B817C6}" type="presParOf" srcId="{A431962B-81FE-4CB0-AE45-263D21CDC198}" destId="{2E60D2F4-3711-4957-913D-3B8FDA1058C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65764A5-75DC-49C2-A448-F8F6955F220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AB735E-7A52-4141-A7CD-5D85AE47153F}">
      <dgm:prSet/>
      <dgm:spPr/>
      <dgm:t>
        <a:bodyPr/>
        <a:lstStyle/>
        <a:p>
          <a:r>
            <a:rPr lang="en-US" b="0" i="0"/>
            <a:t>Who is educated? </a:t>
          </a:r>
          <a:endParaRPr lang="en-US"/>
        </a:p>
      </dgm:t>
    </dgm:pt>
    <dgm:pt modelId="{F2D37F37-21B4-45E6-B8E1-842F9AFEA68A}" type="parTrans" cxnId="{5942A130-D0C6-4E8B-AE7F-0DCF9071AE7B}">
      <dgm:prSet/>
      <dgm:spPr/>
      <dgm:t>
        <a:bodyPr/>
        <a:lstStyle/>
        <a:p>
          <a:endParaRPr lang="en-US"/>
        </a:p>
      </dgm:t>
    </dgm:pt>
    <dgm:pt modelId="{47D4FD13-B5D9-4AED-B54B-29A8913E0AA2}" type="sibTrans" cxnId="{5942A130-D0C6-4E8B-AE7F-0DCF9071AE7B}">
      <dgm:prSet/>
      <dgm:spPr/>
      <dgm:t>
        <a:bodyPr/>
        <a:lstStyle/>
        <a:p>
          <a:endParaRPr lang="en-US"/>
        </a:p>
      </dgm:t>
    </dgm:pt>
    <dgm:pt modelId="{83C1D274-BB98-4873-9514-AE7474CE8694}">
      <dgm:prSet/>
      <dgm:spPr/>
      <dgm:t>
        <a:bodyPr/>
        <a:lstStyle/>
        <a:p>
          <a:r>
            <a:rPr lang="en-US" b="0" i="0"/>
            <a:t>What is the format? </a:t>
          </a:r>
          <a:endParaRPr lang="en-US"/>
        </a:p>
      </dgm:t>
    </dgm:pt>
    <dgm:pt modelId="{6AD9DBFC-4D72-47ED-B81E-9C58D558AC3F}" type="parTrans" cxnId="{8F1A7FBA-D865-4EE1-8193-8B0CEA43EB63}">
      <dgm:prSet/>
      <dgm:spPr/>
      <dgm:t>
        <a:bodyPr/>
        <a:lstStyle/>
        <a:p>
          <a:endParaRPr lang="en-US"/>
        </a:p>
      </dgm:t>
    </dgm:pt>
    <dgm:pt modelId="{7932D8F4-5E00-4BF5-8581-391D548B55B9}" type="sibTrans" cxnId="{8F1A7FBA-D865-4EE1-8193-8B0CEA43EB63}">
      <dgm:prSet/>
      <dgm:spPr/>
      <dgm:t>
        <a:bodyPr/>
        <a:lstStyle/>
        <a:p>
          <a:endParaRPr lang="en-US"/>
        </a:p>
      </dgm:t>
    </dgm:pt>
    <dgm:pt modelId="{B64A7B18-5C98-4F4F-9B1E-A43D947F9C80}">
      <dgm:prSet/>
      <dgm:spPr/>
      <dgm:t>
        <a:bodyPr/>
        <a:lstStyle/>
        <a:p>
          <a:r>
            <a:rPr lang="en-US" b="0" i="0"/>
            <a:t>How effective is it? </a:t>
          </a:r>
          <a:endParaRPr lang="en-US"/>
        </a:p>
      </dgm:t>
    </dgm:pt>
    <dgm:pt modelId="{FCD3C96F-73FC-4C55-8131-F606D307FBCD}" type="parTrans" cxnId="{2ED81355-CC10-455B-BE02-015DDE72C56F}">
      <dgm:prSet/>
      <dgm:spPr/>
      <dgm:t>
        <a:bodyPr/>
        <a:lstStyle/>
        <a:p>
          <a:endParaRPr lang="en-US"/>
        </a:p>
      </dgm:t>
    </dgm:pt>
    <dgm:pt modelId="{E9B7B206-9D19-4049-A3EF-38A8FAFEE818}" type="sibTrans" cxnId="{2ED81355-CC10-455B-BE02-015DDE72C56F}">
      <dgm:prSet/>
      <dgm:spPr/>
      <dgm:t>
        <a:bodyPr/>
        <a:lstStyle/>
        <a:p>
          <a:endParaRPr lang="en-US"/>
        </a:p>
      </dgm:t>
    </dgm:pt>
    <dgm:pt modelId="{9B835F3F-E50D-4B77-BEE8-A86B41C193E9}">
      <dgm:prSet/>
      <dgm:spPr/>
      <dgm:t>
        <a:bodyPr/>
        <a:lstStyle/>
        <a:p>
          <a:r>
            <a:rPr lang="en-US" b="0" i="0"/>
            <a:t>How can it be improved?</a:t>
          </a:r>
          <a:endParaRPr lang="en-US"/>
        </a:p>
      </dgm:t>
    </dgm:pt>
    <dgm:pt modelId="{F0CE5C64-21DF-43B3-B9EC-2B874E5D991A}" type="parTrans" cxnId="{29CEA035-1D5A-438D-8F95-E76801D51916}">
      <dgm:prSet/>
      <dgm:spPr/>
      <dgm:t>
        <a:bodyPr/>
        <a:lstStyle/>
        <a:p>
          <a:endParaRPr lang="en-US"/>
        </a:p>
      </dgm:t>
    </dgm:pt>
    <dgm:pt modelId="{8BA1A73F-3A0F-47E1-A973-DC88D78FAFD5}" type="sibTrans" cxnId="{29CEA035-1D5A-438D-8F95-E76801D51916}">
      <dgm:prSet/>
      <dgm:spPr/>
      <dgm:t>
        <a:bodyPr/>
        <a:lstStyle/>
        <a:p>
          <a:endParaRPr lang="en-US"/>
        </a:p>
      </dgm:t>
    </dgm:pt>
    <dgm:pt modelId="{19E3B7D5-0B92-41D6-B212-705A565092AF}" type="pres">
      <dgm:prSet presAssocID="{165764A5-75DC-49C2-A448-F8F6955F2204}" presName="root" presStyleCnt="0">
        <dgm:presLayoutVars>
          <dgm:dir/>
          <dgm:resizeHandles val="exact"/>
        </dgm:presLayoutVars>
      </dgm:prSet>
      <dgm:spPr/>
    </dgm:pt>
    <dgm:pt modelId="{45CB7D17-2058-4449-971D-A5719E98E368}" type="pres">
      <dgm:prSet presAssocID="{32AB735E-7A52-4141-A7CD-5D85AE47153F}" presName="compNode" presStyleCnt="0"/>
      <dgm:spPr/>
    </dgm:pt>
    <dgm:pt modelId="{D7209206-939B-4D9F-9469-A4489B6BFEEE}" type="pres">
      <dgm:prSet presAssocID="{32AB735E-7A52-4141-A7CD-5D85AE47153F}" presName="bgRect" presStyleLbl="bgShp" presStyleIdx="0" presStyleCnt="4"/>
      <dgm:spPr/>
    </dgm:pt>
    <dgm:pt modelId="{F7CB6EB2-ADA0-4D68-9D60-F7B7318090E9}" type="pres">
      <dgm:prSet presAssocID="{32AB735E-7A52-4141-A7CD-5D85AE47153F}"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female with solid fill"/>
        </a:ext>
      </dgm:extLst>
    </dgm:pt>
    <dgm:pt modelId="{1836511A-6131-404E-BD39-BB26059090F6}" type="pres">
      <dgm:prSet presAssocID="{32AB735E-7A52-4141-A7CD-5D85AE47153F}" presName="spaceRect" presStyleCnt="0"/>
      <dgm:spPr/>
    </dgm:pt>
    <dgm:pt modelId="{B5CFE20D-FE69-4720-B81A-979737D2AC10}" type="pres">
      <dgm:prSet presAssocID="{32AB735E-7A52-4141-A7CD-5D85AE47153F}" presName="parTx" presStyleLbl="revTx" presStyleIdx="0" presStyleCnt="4">
        <dgm:presLayoutVars>
          <dgm:chMax val="0"/>
          <dgm:chPref val="0"/>
        </dgm:presLayoutVars>
      </dgm:prSet>
      <dgm:spPr/>
    </dgm:pt>
    <dgm:pt modelId="{C3DA0AD3-6333-47AE-8C5C-854C7A26B9D3}" type="pres">
      <dgm:prSet presAssocID="{47D4FD13-B5D9-4AED-B54B-29A8913E0AA2}" presName="sibTrans" presStyleCnt="0"/>
      <dgm:spPr/>
    </dgm:pt>
    <dgm:pt modelId="{7359A9C7-00E9-412F-8019-A6DB3A696FA9}" type="pres">
      <dgm:prSet presAssocID="{83C1D274-BB98-4873-9514-AE7474CE8694}" presName="compNode" presStyleCnt="0"/>
      <dgm:spPr/>
    </dgm:pt>
    <dgm:pt modelId="{20FF99E0-E872-4C87-AB89-86E9578C8DDF}" type="pres">
      <dgm:prSet presAssocID="{83C1D274-BB98-4873-9514-AE7474CE8694}" presName="bgRect" presStyleLbl="bgShp" presStyleIdx="1" presStyleCnt="4"/>
      <dgm:spPr/>
    </dgm:pt>
    <dgm:pt modelId="{FE328E90-B613-4A5A-895B-B7300879B71B}" type="pres">
      <dgm:prSet presAssocID="{83C1D274-BB98-4873-9514-AE7474CE8694}"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assroom with solid fill"/>
        </a:ext>
      </dgm:extLst>
    </dgm:pt>
    <dgm:pt modelId="{9AB41017-8BA3-492E-9D4C-3543BC39FC1A}" type="pres">
      <dgm:prSet presAssocID="{83C1D274-BB98-4873-9514-AE7474CE8694}" presName="spaceRect" presStyleCnt="0"/>
      <dgm:spPr/>
    </dgm:pt>
    <dgm:pt modelId="{8A018F78-18F2-4046-8232-2DF71BD5D9D9}" type="pres">
      <dgm:prSet presAssocID="{83C1D274-BB98-4873-9514-AE7474CE8694}" presName="parTx" presStyleLbl="revTx" presStyleIdx="1" presStyleCnt="4">
        <dgm:presLayoutVars>
          <dgm:chMax val="0"/>
          <dgm:chPref val="0"/>
        </dgm:presLayoutVars>
      </dgm:prSet>
      <dgm:spPr/>
    </dgm:pt>
    <dgm:pt modelId="{EDB563DD-2D3E-4CDD-BEB7-F26B0CAF5754}" type="pres">
      <dgm:prSet presAssocID="{7932D8F4-5E00-4BF5-8581-391D548B55B9}" presName="sibTrans" presStyleCnt="0"/>
      <dgm:spPr/>
    </dgm:pt>
    <dgm:pt modelId="{05C09904-E29E-4EDF-8D5A-35D52F309E60}" type="pres">
      <dgm:prSet presAssocID="{B64A7B18-5C98-4F4F-9B1E-A43D947F9C80}" presName="compNode" presStyleCnt="0"/>
      <dgm:spPr/>
    </dgm:pt>
    <dgm:pt modelId="{9C73F8EA-A8FC-4F63-86A9-E4A9E76DCAC4}" type="pres">
      <dgm:prSet presAssocID="{B64A7B18-5C98-4F4F-9B1E-A43D947F9C80}" presName="bgRect" presStyleLbl="bgShp" presStyleIdx="2" presStyleCnt="4"/>
      <dgm:spPr/>
    </dgm:pt>
    <dgm:pt modelId="{B9C0EDBC-4130-49F0-BD1C-7715E15128FE}" type="pres">
      <dgm:prSet presAssocID="{B64A7B18-5C98-4F4F-9B1E-A43D947F9C8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5F2CBBA0-D2F6-4549-A91D-219566733A28}" type="pres">
      <dgm:prSet presAssocID="{B64A7B18-5C98-4F4F-9B1E-A43D947F9C80}" presName="spaceRect" presStyleCnt="0"/>
      <dgm:spPr/>
    </dgm:pt>
    <dgm:pt modelId="{47E3F42C-2B9F-4364-8C4A-77E20F78A27E}" type="pres">
      <dgm:prSet presAssocID="{B64A7B18-5C98-4F4F-9B1E-A43D947F9C80}" presName="parTx" presStyleLbl="revTx" presStyleIdx="2" presStyleCnt="4">
        <dgm:presLayoutVars>
          <dgm:chMax val="0"/>
          <dgm:chPref val="0"/>
        </dgm:presLayoutVars>
      </dgm:prSet>
      <dgm:spPr/>
    </dgm:pt>
    <dgm:pt modelId="{BC943EC3-0CB9-46F6-B60A-445BCCE3DBE9}" type="pres">
      <dgm:prSet presAssocID="{E9B7B206-9D19-4049-A3EF-38A8FAFEE818}" presName="sibTrans" presStyleCnt="0"/>
      <dgm:spPr/>
    </dgm:pt>
    <dgm:pt modelId="{4B753616-69E5-4F1D-B181-A9B3B3C69157}" type="pres">
      <dgm:prSet presAssocID="{9B835F3F-E50D-4B77-BEE8-A86B41C193E9}" presName="compNode" presStyleCnt="0"/>
      <dgm:spPr/>
    </dgm:pt>
    <dgm:pt modelId="{7E206A1E-ED79-40B1-845D-015A7CCFB18F}" type="pres">
      <dgm:prSet presAssocID="{9B835F3F-E50D-4B77-BEE8-A86B41C193E9}" presName="bgRect" presStyleLbl="bgShp" presStyleIdx="3" presStyleCnt="4"/>
      <dgm:spPr/>
    </dgm:pt>
    <dgm:pt modelId="{A7D2A605-B3F5-4D19-BB4A-25D4F28B3FBF}" type="pres">
      <dgm:prSet presAssocID="{9B835F3F-E50D-4B77-BEE8-A86B41C193E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usiness Growth"/>
        </a:ext>
      </dgm:extLst>
    </dgm:pt>
    <dgm:pt modelId="{BB79C603-554E-45FB-BFB4-31C399146663}" type="pres">
      <dgm:prSet presAssocID="{9B835F3F-E50D-4B77-BEE8-A86B41C193E9}" presName="spaceRect" presStyleCnt="0"/>
      <dgm:spPr/>
    </dgm:pt>
    <dgm:pt modelId="{E7576307-21A1-4AAF-A60F-F743A7342BC4}" type="pres">
      <dgm:prSet presAssocID="{9B835F3F-E50D-4B77-BEE8-A86B41C193E9}" presName="parTx" presStyleLbl="revTx" presStyleIdx="3" presStyleCnt="4">
        <dgm:presLayoutVars>
          <dgm:chMax val="0"/>
          <dgm:chPref val="0"/>
        </dgm:presLayoutVars>
      </dgm:prSet>
      <dgm:spPr/>
    </dgm:pt>
  </dgm:ptLst>
  <dgm:cxnLst>
    <dgm:cxn modelId="{5942A130-D0C6-4E8B-AE7F-0DCF9071AE7B}" srcId="{165764A5-75DC-49C2-A448-F8F6955F2204}" destId="{32AB735E-7A52-4141-A7CD-5D85AE47153F}" srcOrd="0" destOrd="0" parTransId="{F2D37F37-21B4-45E6-B8E1-842F9AFEA68A}" sibTransId="{47D4FD13-B5D9-4AED-B54B-29A8913E0AA2}"/>
    <dgm:cxn modelId="{29CEA035-1D5A-438D-8F95-E76801D51916}" srcId="{165764A5-75DC-49C2-A448-F8F6955F2204}" destId="{9B835F3F-E50D-4B77-BEE8-A86B41C193E9}" srcOrd="3" destOrd="0" parTransId="{F0CE5C64-21DF-43B3-B9EC-2B874E5D991A}" sibTransId="{8BA1A73F-3A0F-47E1-A973-DC88D78FAFD5}"/>
    <dgm:cxn modelId="{913BB43A-7AF8-497C-BEA0-AEBE78F0184A}" type="presOf" srcId="{B64A7B18-5C98-4F4F-9B1E-A43D947F9C80}" destId="{47E3F42C-2B9F-4364-8C4A-77E20F78A27E}" srcOrd="0" destOrd="0" presId="urn:microsoft.com/office/officeart/2018/2/layout/IconVerticalSolidList"/>
    <dgm:cxn modelId="{2ED81355-CC10-455B-BE02-015DDE72C56F}" srcId="{165764A5-75DC-49C2-A448-F8F6955F2204}" destId="{B64A7B18-5C98-4F4F-9B1E-A43D947F9C80}" srcOrd="2" destOrd="0" parTransId="{FCD3C96F-73FC-4C55-8131-F606D307FBCD}" sibTransId="{E9B7B206-9D19-4049-A3EF-38A8FAFEE818}"/>
    <dgm:cxn modelId="{AD109275-B3C2-4F51-A240-C1F80EE60321}" type="presOf" srcId="{9B835F3F-E50D-4B77-BEE8-A86B41C193E9}" destId="{E7576307-21A1-4AAF-A60F-F743A7342BC4}" srcOrd="0" destOrd="0" presId="urn:microsoft.com/office/officeart/2018/2/layout/IconVerticalSolidList"/>
    <dgm:cxn modelId="{C3F223AC-FC8A-4701-9827-3A876126898F}" type="presOf" srcId="{83C1D274-BB98-4873-9514-AE7474CE8694}" destId="{8A018F78-18F2-4046-8232-2DF71BD5D9D9}" srcOrd="0" destOrd="0" presId="urn:microsoft.com/office/officeart/2018/2/layout/IconVerticalSolidList"/>
    <dgm:cxn modelId="{8F1A7FBA-D865-4EE1-8193-8B0CEA43EB63}" srcId="{165764A5-75DC-49C2-A448-F8F6955F2204}" destId="{83C1D274-BB98-4873-9514-AE7474CE8694}" srcOrd="1" destOrd="0" parTransId="{6AD9DBFC-4D72-47ED-B81E-9C58D558AC3F}" sibTransId="{7932D8F4-5E00-4BF5-8581-391D548B55B9}"/>
    <dgm:cxn modelId="{F1FC7CD9-0BED-4C22-B5DE-3D13E24B7823}" type="presOf" srcId="{165764A5-75DC-49C2-A448-F8F6955F2204}" destId="{19E3B7D5-0B92-41D6-B212-705A565092AF}" srcOrd="0" destOrd="0" presId="urn:microsoft.com/office/officeart/2018/2/layout/IconVerticalSolidList"/>
    <dgm:cxn modelId="{7F11E3F7-FEFC-4480-B380-3028E4EE324D}" type="presOf" srcId="{32AB735E-7A52-4141-A7CD-5D85AE47153F}" destId="{B5CFE20D-FE69-4720-B81A-979737D2AC10}" srcOrd="0" destOrd="0" presId="urn:microsoft.com/office/officeart/2018/2/layout/IconVerticalSolidList"/>
    <dgm:cxn modelId="{5530B0AB-699E-49DE-BDF9-166B3BE84E64}" type="presParOf" srcId="{19E3B7D5-0B92-41D6-B212-705A565092AF}" destId="{45CB7D17-2058-4449-971D-A5719E98E368}" srcOrd="0" destOrd="0" presId="urn:microsoft.com/office/officeart/2018/2/layout/IconVerticalSolidList"/>
    <dgm:cxn modelId="{A3B5C5AE-67B9-4391-ACDF-780CEB9A33F8}" type="presParOf" srcId="{45CB7D17-2058-4449-971D-A5719E98E368}" destId="{D7209206-939B-4D9F-9469-A4489B6BFEEE}" srcOrd="0" destOrd="0" presId="urn:microsoft.com/office/officeart/2018/2/layout/IconVerticalSolidList"/>
    <dgm:cxn modelId="{FCCC4F5D-4486-4BC7-BBD3-F5F421C26B23}" type="presParOf" srcId="{45CB7D17-2058-4449-971D-A5719E98E368}" destId="{F7CB6EB2-ADA0-4D68-9D60-F7B7318090E9}" srcOrd="1" destOrd="0" presId="urn:microsoft.com/office/officeart/2018/2/layout/IconVerticalSolidList"/>
    <dgm:cxn modelId="{D38C3B51-671A-40C1-995C-C656615B9E1F}" type="presParOf" srcId="{45CB7D17-2058-4449-971D-A5719E98E368}" destId="{1836511A-6131-404E-BD39-BB26059090F6}" srcOrd="2" destOrd="0" presId="urn:microsoft.com/office/officeart/2018/2/layout/IconVerticalSolidList"/>
    <dgm:cxn modelId="{1A8B7874-E2AB-47CB-8CAE-AE596BD7DFF7}" type="presParOf" srcId="{45CB7D17-2058-4449-971D-A5719E98E368}" destId="{B5CFE20D-FE69-4720-B81A-979737D2AC10}" srcOrd="3" destOrd="0" presId="urn:microsoft.com/office/officeart/2018/2/layout/IconVerticalSolidList"/>
    <dgm:cxn modelId="{DD828F9D-D4FF-45D4-AAEE-C2E697644391}" type="presParOf" srcId="{19E3B7D5-0B92-41D6-B212-705A565092AF}" destId="{C3DA0AD3-6333-47AE-8C5C-854C7A26B9D3}" srcOrd="1" destOrd="0" presId="urn:microsoft.com/office/officeart/2018/2/layout/IconVerticalSolidList"/>
    <dgm:cxn modelId="{F56AF670-0F89-44D6-8A9E-2F77ED0E6BB1}" type="presParOf" srcId="{19E3B7D5-0B92-41D6-B212-705A565092AF}" destId="{7359A9C7-00E9-412F-8019-A6DB3A696FA9}" srcOrd="2" destOrd="0" presId="urn:microsoft.com/office/officeart/2018/2/layout/IconVerticalSolidList"/>
    <dgm:cxn modelId="{AC141B83-3D73-4AAF-AE1C-78E23DFA37C2}" type="presParOf" srcId="{7359A9C7-00E9-412F-8019-A6DB3A696FA9}" destId="{20FF99E0-E872-4C87-AB89-86E9578C8DDF}" srcOrd="0" destOrd="0" presId="urn:microsoft.com/office/officeart/2018/2/layout/IconVerticalSolidList"/>
    <dgm:cxn modelId="{ED4F961B-B34F-4EA1-A383-94E5442E5CAA}" type="presParOf" srcId="{7359A9C7-00E9-412F-8019-A6DB3A696FA9}" destId="{FE328E90-B613-4A5A-895B-B7300879B71B}" srcOrd="1" destOrd="0" presId="urn:microsoft.com/office/officeart/2018/2/layout/IconVerticalSolidList"/>
    <dgm:cxn modelId="{763680D5-6B34-41C2-B95C-0FE798291C1F}" type="presParOf" srcId="{7359A9C7-00E9-412F-8019-A6DB3A696FA9}" destId="{9AB41017-8BA3-492E-9D4C-3543BC39FC1A}" srcOrd="2" destOrd="0" presId="urn:microsoft.com/office/officeart/2018/2/layout/IconVerticalSolidList"/>
    <dgm:cxn modelId="{156294E9-51A6-4167-A297-372220078EA0}" type="presParOf" srcId="{7359A9C7-00E9-412F-8019-A6DB3A696FA9}" destId="{8A018F78-18F2-4046-8232-2DF71BD5D9D9}" srcOrd="3" destOrd="0" presId="urn:microsoft.com/office/officeart/2018/2/layout/IconVerticalSolidList"/>
    <dgm:cxn modelId="{0CD285EF-F7C8-4AF1-9DB7-AA37E65BA312}" type="presParOf" srcId="{19E3B7D5-0B92-41D6-B212-705A565092AF}" destId="{EDB563DD-2D3E-4CDD-BEB7-F26B0CAF5754}" srcOrd="3" destOrd="0" presId="urn:microsoft.com/office/officeart/2018/2/layout/IconVerticalSolidList"/>
    <dgm:cxn modelId="{D0E45AAC-8AA7-480B-B5A0-8BE355D431BD}" type="presParOf" srcId="{19E3B7D5-0B92-41D6-B212-705A565092AF}" destId="{05C09904-E29E-4EDF-8D5A-35D52F309E60}" srcOrd="4" destOrd="0" presId="urn:microsoft.com/office/officeart/2018/2/layout/IconVerticalSolidList"/>
    <dgm:cxn modelId="{65925DAE-0AB1-4868-BFF5-093516818B77}" type="presParOf" srcId="{05C09904-E29E-4EDF-8D5A-35D52F309E60}" destId="{9C73F8EA-A8FC-4F63-86A9-E4A9E76DCAC4}" srcOrd="0" destOrd="0" presId="urn:microsoft.com/office/officeart/2018/2/layout/IconVerticalSolidList"/>
    <dgm:cxn modelId="{79ED4D04-2487-4FF3-97D9-BE104365848F}" type="presParOf" srcId="{05C09904-E29E-4EDF-8D5A-35D52F309E60}" destId="{B9C0EDBC-4130-49F0-BD1C-7715E15128FE}" srcOrd="1" destOrd="0" presId="urn:microsoft.com/office/officeart/2018/2/layout/IconVerticalSolidList"/>
    <dgm:cxn modelId="{468BADEF-25FF-4266-9FF0-872BC5AA7F6A}" type="presParOf" srcId="{05C09904-E29E-4EDF-8D5A-35D52F309E60}" destId="{5F2CBBA0-D2F6-4549-A91D-219566733A28}" srcOrd="2" destOrd="0" presId="urn:microsoft.com/office/officeart/2018/2/layout/IconVerticalSolidList"/>
    <dgm:cxn modelId="{811C6BC4-C21C-4EB4-BBAE-3302EC8C6399}" type="presParOf" srcId="{05C09904-E29E-4EDF-8D5A-35D52F309E60}" destId="{47E3F42C-2B9F-4364-8C4A-77E20F78A27E}" srcOrd="3" destOrd="0" presId="urn:microsoft.com/office/officeart/2018/2/layout/IconVerticalSolidList"/>
    <dgm:cxn modelId="{85F28B0C-5E3B-4786-8E41-9BBD2E8C0FBA}" type="presParOf" srcId="{19E3B7D5-0B92-41D6-B212-705A565092AF}" destId="{BC943EC3-0CB9-46F6-B60A-445BCCE3DBE9}" srcOrd="5" destOrd="0" presId="urn:microsoft.com/office/officeart/2018/2/layout/IconVerticalSolidList"/>
    <dgm:cxn modelId="{196B6F4E-A2E1-4ADC-9247-FE6E54BB46CB}" type="presParOf" srcId="{19E3B7D5-0B92-41D6-B212-705A565092AF}" destId="{4B753616-69E5-4F1D-B181-A9B3B3C69157}" srcOrd="6" destOrd="0" presId="urn:microsoft.com/office/officeart/2018/2/layout/IconVerticalSolidList"/>
    <dgm:cxn modelId="{3718DCC6-C214-4214-BA6F-C9D388E35346}" type="presParOf" srcId="{4B753616-69E5-4F1D-B181-A9B3B3C69157}" destId="{7E206A1E-ED79-40B1-845D-015A7CCFB18F}" srcOrd="0" destOrd="0" presId="urn:microsoft.com/office/officeart/2018/2/layout/IconVerticalSolidList"/>
    <dgm:cxn modelId="{FA0727DF-BD78-4FC4-B58D-A4B393A800F6}" type="presParOf" srcId="{4B753616-69E5-4F1D-B181-A9B3B3C69157}" destId="{A7D2A605-B3F5-4D19-BB4A-25D4F28B3FBF}" srcOrd="1" destOrd="0" presId="urn:microsoft.com/office/officeart/2018/2/layout/IconVerticalSolidList"/>
    <dgm:cxn modelId="{479FE9EE-54C7-40D0-9810-48F2B6698566}" type="presParOf" srcId="{4B753616-69E5-4F1D-B181-A9B3B3C69157}" destId="{BB79C603-554E-45FB-BFB4-31C399146663}" srcOrd="2" destOrd="0" presId="urn:microsoft.com/office/officeart/2018/2/layout/IconVerticalSolidList"/>
    <dgm:cxn modelId="{D1B28413-8E38-46C7-9987-CC5FF59E5A8C}" type="presParOf" srcId="{4B753616-69E5-4F1D-B181-A9B3B3C69157}" destId="{E7576307-21A1-4AAF-A60F-F743A7342BC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B7F7FF-D825-4E5D-9D5B-AB2877DE1C42}">
      <dsp:nvSpPr>
        <dsp:cNvPr id="0" name=""/>
        <dsp:cNvSpPr/>
      </dsp:nvSpPr>
      <dsp:spPr>
        <a:xfrm>
          <a:off x="1065737" y="3275"/>
          <a:ext cx="1140268" cy="114026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62BD9C-A33E-434C-BDD3-AE9F5CCDA835}">
      <dsp:nvSpPr>
        <dsp:cNvPr id="0" name=""/>
        <dsp:cNvSpPr/>
      </dsp:nvSpPr>
      <dsp:spPr>
        <a:xfrm>
          <a:off x="6916"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Collaborative Learning</a:t>
          </a:r>
        </a:p>
      </dsp:txBody>
      <dsp:txXfrm>
        <a:off x="6916" y="1323552"/>
        <a:ext cx="3257909" cy="488686"/>
      </dsp:txXfrm>
    </dsp:sp>
    <dsp:sp modelId="{3101DFFC-2148-4129-B07B-84D5C052CF49}">
      <dsp:nvSpPr>
        <dsp:cNvPr id="0" name=""/>
        <dsp:cNvSpPr/>
      </dsp:nvSpPr>
      <dsp:spPr>
        <a:xfrm>
          <a:off x="6916"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755650">
            <a:lnSpc>
              <a:spcPct val="100000"/>
            </a:lnSpc>
            <a:spcBef>
              <a:spcPct val="0"/>
            </a:spcBef>
            <a:spcAft>
              <a:spcPct val="35000"/>
            </a:spcAft>
            <a:buNone/>
          </a:pPr>
          <a:r>
            <a:rPr lang="en-US" sz="1700" kern="1200"/>
            <a:t>Monthly webinars</a:t>
          </a:r>
        </a:p>
        <a:p>
          <a:pPr marL="0" lvl="0" indent="0" algn="l" defTabSz="755650">
            <a:lnSpc>
              <a:spcPct val="100000"/>
            </a:lnSpc>
            <a:spcBef>
              <a:spcPct val="0"/>
            </a:spcBef>
            <a:spcAft>
              <a:spcPct val="35000"/>
            </a:spcAft>
            <a:buNone/>
          </a:pPr>
          <a:r>
            <a:rPr lang="en-US" sz="1700" kern="1200"/>
            <a:t>Expert Speakers</a:t>
          </a:r>
        </a:p>
        <a:p>
          <a:pPr marL="0" lvl="0" indent="0" algn="l" defTabSz="755650">
            <a:lnSpc>
              <a:spcPct val="100000"/>
            </a:lnSpc>
            <a:spcBef>
              <a:spcPct val="0"/>
            </a:spcBef>
            <a:spcAft>
              <a:spcPct val="35000"/>
            </a:spcAft>
            <a:buNone/>
          </a:pPr>
          <a:r>
            <a:rPr lang="en-US" sz="1700" kern="1200"/>
            <a:t>Team Sharing</a:t>
          </a:r>
        </a:p>
        <a:p>
          <a:pPr marL="0" lvl="0" indent="0" algn="l" defTabSz="755650">
            <a:lnSpc>
              <a:spcPct val="100000"/>
            </a:lnSpc>
            <a:spcBef>
              <a:spcPct val="0"/>
            </a:spcBef>
            <a:spcAft>
              <a:spcPct val="35000"/>
            </a:spcAft>
            <a:buNone/>
          </a:pPr>
          <a:r>
            <a:rPr lang="en-US" sz="1700" b="0" kern="1200"/>
            <a:t> ILPQC events</a:t>
          </a:r>
        </a:p>
        <a:p>
          <a:pPr marL="171450" lvl="1" indent="-171450" algn="l" defTabSz="755650">
            <a:lnSpc>
              <a:spcPct val="90000"/>
            </a:lnSpc>
            <a:spcBef>
              <a:spcPct val="0"/>
            </a:spcBef>
            <a:spcAft>
              <a:spcPct val="15000"/>
            </a:spcAft>
            <a:buChar char="•"/>
          </a:pPr>
          <a:r>
            <a:rPr lang="en-US" sz="1700" b="0" kern="1200"/>
            <a:t>Spring Face-to-Face Meetings</a:t>
          </a:r>
          <a:endParaRPr lang="en-US" sz="1700" b="0" kern="1200">
            <a:latin typeface="Calibri" panose="020F0502020204030204"/>
          </a:endParaRPr>
        </a:p>
        <a:p>
          <a:pPr marL="171450" lvl="1" indent="-171450" algn="l" defTabSz="755650">
            <a:lnSpc>
              <a:spcPct val="90000"/>
            </a:lnSpc>
            <a:spcBef>
              <a:spcPct val="0"/>
            </a:spcBef>
            <a:spcAft>
              <a:spcPct val="15000"/>
            </a:spcAft>
            <a:buChar char="•"/>
          </a:pPr>
          <a:r>
            <a:rPr lang="en-US" sz="1700" b="0" kern="1200"/>
            <a:t>Fall Annual Conference</a:t>
          </a:r>
          <a:r>
            <a:rPr lang="en-US" sz="1700" b="0" kern="1200">
              <a:latin typeface="Calibri" panose="020F0502020204030204"/>
            </a:rPr>
            <a:t> </a:t>
          </a:r>
        </a:p>
        <a:p>
          <a:pPr marL="0" lvl="0" indent="0" algn="l" defTabSz="755650">
            <a:lnSpc>
              <a:spcPct val="100000"/>
            </a:lnSpc>
            <a:spcBef>
              <a:spcPct val="0"/>
            </a:spcBef>
            <a:spcAft>
              <a:spcPct val="35000"/>
            </a:spcAft>
            <a:buNone/>
          </a:pPr>
          <a:r>
            <a:rPr lang="en-US" sz="1700" b="0" kern="1200"/>
            <a:t> Grand Rounds presentations</a:t>
          </a:r>
          <a:endParaRPr lang="en-US" sz="1700" kern="1200"/>
        </a:p>
      </dsp:txBody>
      <dsp:txXfrm>
        <a:off x="6916" y="1895964"/>
        <a:ext cx="3257909" cy="2293565"/>
      </dsp:txXfrm>
    </dsp:sp>
    <dsp:sp modelId="{74B852B9-9EFE-4F4F-8DA8-5A6AA2619D5B}">
      <dsp:nvSpPr>
        <dsp:cNvPr id="0" name=""/>
        <dsp:cNvSpPr/>
      </dsp:nvSpPr>
      <dsp:spPr>
        <a:xfrm>
          <a:off x="4893780" y="3275"/>
          <a:ext cx="1140268" cy="114026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FF94DEC-38DE-4948-85C8-9110C557CCCB}">
      <dsp:nvSpPr>
        <dsp:cNvPr id="0" name=""/>
        <dsp:cNvSpPr/>
      </dsp:nvSpPr>
      <dsp:spPr>
        <a:xfrm>
          <a:off x="3834959"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Rapid Response Data</a:t>
          </a:r>
        </a:p>
      </dsp:txBody>
      <dsp:txXfrm>
        <a:off x="3834959" y="1323552"/>
        <a:ext cx="3257909" cy="488686"/>
      </dsp:txXfrm>
    </dsp:sp>
    <dsp:sp modelId="{FC8A97E8-39A9-46D2-91B0-8AAE8886CDA5}">
      <dsp:nvSpPr>
        <dsp:cNvPr id="0" name=""/>
        <dsp:cNvSpPr/>
      </dsp:nvSpPr>
      <dsp:spPr>
        <a:xfrm>
          <a:off x="3834959"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kern="1200"/>
            <a:t>Monthly Data Entry</a:t>
          </a:r>
        </a:p>
        <a:p>
          <a:pPr marL="0" lvl="0" indent="0" algn="ctr" defTabSz="755650">
            <a:lnSpc>
              <a:spcPct val="100000"/>
            </a:lnSpc>
            <a:spcBef>
              <a:spcPct val="0"/>
            </a:spcBef>
            <a:spcAft>
              <a:spcPct val="35000"/>
            </a:spcAft>
            <a:buNone/>
          </a:pPr>
          <a:r>
            <a:rPr lang="en-US" sz="1700" b="0" kern="1200"/>
            <a:t>Real-time</a:t>
          </a:r>
          <a:r>
            <a:rPr lang="en-US" sz="1700" b="0" kern="1200">
              <a:latin typeface="Calibri" panose="020F0502020204030204"/>
            </a:rPr>
            <a:t> data</a:t>
          </a:r>
          <a:r>
            <a:rPr lang="en-US" sz="1700" b="0" kern="1200"/>
            <a:t> reports for teams to compare data across time &amp; hospitals</a:t>
          </a:r>
          <a:endParaRPr lang="en-US" sz="1700" b="0" kern="1200">
            <a:latin typeface="Calibri" panose="020F0502020204030204"/>
          </a:endParaRPr>
        </a:p>
        <a:p>
          <a:pPr marL="0" lvl="0" indent="0" algn="ctr" defTabSz="755650">
            <a:lnSpc>
              <a:spcPct val="100000"/>
            </a:lnSpc>
            <a:spcBef>
              <a:spcPct val="0"/>
            </a:spcBef>
            <a:spcAft>
              <a:spcPct val="35000"/>
            </a:spcAft>
            <a:buNone/>
          </a:pPr>
          <a:r>
            <a:rPr lang="en-US" sz="1700" b="0" kern="1200"/>
            <a:t>Data system training calls</a:t>
          </a:r>
          <a:endParaRPr lang="en-US" sz="1700" kern="1200"/>
        </a:p>
      </dsp:txBody>
      <dsp:txXfrm>
        <a:off x="3834959" y="1895964"/>
        <a:ext cx="3257909" cy="2293565"/>
      </dsp:txXfrm>
    </dsp:sp>
    <dsp:sp modelId="{5BF6BBB7-32AF-4CBF-AB04-30FCA14B0B79}">
      <dsp:nvSpPr>
        <dsp:cNvPr id="0" name=""/>
        <dsp:cNvSpPr/>
      </dsp:nvSpPr>
      <dsp:spPr>
        <a:xfrm>
          <a:off x="8721823" y="3275"/>
          <a:ext cx="1140268" cy="114026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4CC0D0-8D84-4D09-83FE-C3EC7A75C37F}">
      <dsp:nvSpPr>
        <dsp:cNvPr id="0" name=""/>
        <dsp:cNvSpPr/>
      </dsp:nvSpPr>
      <dsp:spPr>
        <a:xfrm>
          <a:off x="7663003" y="1323552"/>
          <a:ext cx="3257909" cy="488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100000"/>
            </a:lnSpc>
            <a:spcBef>
              <a:spcPct val="0"/>
            </a:spcBef>
            <a:spcAft>
              <a:spcPct val="35000"/>
            </a:spcAft>
            <a:buNone/>
            <a:defRPr b="1"/>
          </a:pPr>
          <a:r>
            <a:rPr lang="en-US" sz="2700" kern="1200"/>
            <a:t>QI Support</a:t>
          </a:r>
        </a:p>
      </dsp:txBody>
      <dsp:txXfrm>
        <a:off x="7663003" y="1323552"/>
        <a:ext cx="3257909" cy="488686"/>
      </dsp:txXfrm>
    </dsp:sp>
    <dsp:sp modelId="{7C3F0027-033F-4438-954B-4F73346E60F5}">
      <dsp:nvSpPr>
        <dsp:cNvPr id="0" name=""/>
        <dsp:cNvSpPr/>
      </dsp:nvSpPr>
      <dsp:spPr>
        <a:xfrm>
          <a:off x="7663003" y="1895964"/>
          <a:ext cx="3257909" cy="2293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en-US" sz="1700" b="0" kern="1200">
              <a:solidFill>
                <a:srgbClr val="000000"/>
              </a:solidFill>
              <a:latin typeface="Calibri" panose="020F0502020204030204"/>
            </a:rPr>
            <a:t>Quarterly</a:t>
          </a:r>
          <a:r>
            <a:rPr lang="en-US" sz="1700" b="0" kern="1200">
              <a:solidFill>
                <a:srgbClr val="000000"/>
              </a:solidFill>
            </a:rPr>
            <a:t> outreach from ILPQC</a:t>
          </a:r>
        </a:p>
        <a:p>
          <a:pPr marL="0" lvl="0" indent="0" algn="ctr" defTabSz="755650">
            <a:lnSpc>
              <a:spcPct val="100000"/>
            </a:lnSpc>
            <a:spcBef>
              <a:spcPct val="0"/>
            </a:spcBef>
            <a:spcAft>
              <a:spcPct val="35000"/>
            </a:spcAft>
            <a:buNone/>
          </a:pPr>
          <a:r>
            <a:rPr lang="en-US" sz="1700" b="0" kern="1200">
              <a:solidFill>
                <a:srgbClr val="000000"/>
              </a:solidFill>
            </a:rPr>
            <a:t>1-1 QI Support Meetings</a:t>
          </a:r>
        </a:p>
        <a:p>
          <a:pPr marL="0" lvl="0" indent="0" algn="ctr" defTabSz="755650">
            <a:lnSpc>
              <a:spcPct val="100000"/>
            </a:lnSpc>
            <a:spcBef>
              <a:spcPct val="0"/>
            </a:spcBef>
            <a:spcAft>
              <a:spcPct val="35000"/>
            </a:spcAft>
            <a:buNone/>
          </a:pPr>
          <a:r>
            <a:rPr lang="en-US" sz="1700" b="0" kern="1200">
              <a:solidFill>
                <a:srgbClr val="000000"/>
              </a:solidFill>
              <a:latin typeface="Calibri" panose="020F0502020204030204"/>
            </a:rPr>
            <a:t>Key Player site visits</a:t>
          </a:r>
        </a:p>
        <a:p>
          <a:pPr marL="0" lvl="0" indent="0" algn="ctr" defTabSz="755650">
            <a:lnSpc>
              <a:spcPct val="100000"/>
            </a:lnSpc>
            <a:spcBef>
              <a:spcPct val="0"/>
            </a:spcBef>
            <a:spcAft>
              <a:spcPct val="35000"/>
            </a:spcAft>
            <a:buNone/>
          </a:pPr>
          <a:r>
            <a:rPr lang="en-US" sz="1700" b="0" kern="1200">
              <a:solidFill>
                <a:srgbClr val="000000"/>
              </a:solidFill>
            </a:rPr>
            <a:t>Quarterly QI support calls to individual teams</a:t>
          </a:r>
          <a:r>
            <a:rPr lang="en-US" sz="1700" b="0" kern="1200">
              <a:solidFill>
                <a:srgbClr val="000000"/>
              </a:solidFill>
              <a:latin typeface="Calibri" panose="020F0502020204030204"/>
            </a:rPr>
            <a:t> </a:t>
          </a:r>
        </a:p>
        <a:p>
          <a:pPr marL="0" lvl="0" indent="0" algn="ctr" defTabSz="755650">
            <a:lnSpc>
              <a:spcPct val="100000"/>
            </a:lnSpc>
            <a:spcBef>
              <a:spcPct val="0"/>
            </a:spcBef>
            <a:spcAft>
              <a:spcPct val="35000"/>
            </a:spcAft>
            <a:buNone/>
          </a:pPr>
          <a:r>
            <a:rPr lang="en-US" sz="1700" b="0" kern="1200">
              <a:solidFill>
                <a:srgbClr val="000000"/>
              </a:solidFill>
            </a:rPr>
            <a:t>Small group QI topic calls as needed</a:t>
          </a:r>
        </a:p>
      </dsp:txBody>
      <dsp:txXfrm>
        <a:off x="7663003" y="1895964"/>
        <a:ext cx="3257909" cy="229356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solidFill>
                <a:srgbClr val="444444"/>
              </a:solidFill>
              <a:latin typeface="Calibri" panose="020F0502020204030204"/>
            </a:rPr>
            <a:t>January </a:t>
          </a:r>
          <a:r>
            <a:rPr lang="en-US" sz="2200" kern="1200">
              <a:latin typeface="Calibri" panose="020F0502020204030204"/>
            </a:rPr>
            <a:t>2023</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a:latin typeface="Calibri" panose="020F0502020204030204"/>
            </a:rPr>
            <a:t>ESSI Data Training Webinars</a:t>
          </a:r>
          <a:endParaRPr lang="en-US" sz="3200" kern="120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January 11th, 2023</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latin typeface="Calibri" panose="020F0502020204030204"/>
            </a:rPr>
            <a:t>January 18th, 2023</a:t>
          </a:r>
          <a:endParaRPr lang="en-US" sz="2200" kern="120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a:t>How to collect data, access redcap, enter data and review reports</a:t>
          </a:r>
        </a:p>
      </dsp:txBody>
      <dsp:txXfrm>
        <a:off x="7829948" y="3787024"/>
        <a:ext cx="2770504" cy="117195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ABFE1-87CF-4B57-84A4-0C891FC85442}">
      <dsp:nvSpPr>
        <dsp:cNvPr id="0" name=""/>
        <dsp:cNvSpPr/>
      </dsp:nvSpPr>
      <dsp:spPr>
        <a:xfrm>
          <a:off x="1345" y="694100"/>
          <a:ext cx="4721192" cy="299795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ED375C1-5711-4532-A806-FDEB1C2D8767}">
      <dsp:nvSpPr>
        <dsp:cNvPr id="0" name=""/>
        <dsp:cNvSpPr/>
      </dsp:nvSpPr>
      <dsp:spPr>
        <a:xfrm>
          <a:off x="525922" y="1192448"/>
          <a:ext cx="4721192" cy="2997957"/>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a:t>Team leads are the individual who will lead the hospital's QI team in </a:t>
          </a:r>
          <a:r>
            <a:rPr lang="en-US" sz="3000" b="1" i="0" u="sng" kern="1200">
              <a:solidFill>
                <a:schemeClr val="accent1"/>
              </a:solidFill>
            </a:rPr>
            <a:t>systems change</a:t>
          </a:r>
          <a:r>
            <a:rPr lang="en-US" sz="3000" b="0" i="0" kern="1200"/>
            <a:t> as well as clinical </a:t>
          </a:r>
          <a:r>
            <a:rPr lang="en-US" sz="3000" b="1" i="0" u="sng" kern="1200">
              <a:solidFill>
                <a:schemeClr val="accent1"/>
              </a:solidFill>
            </a:rPr>
            <a:t>culture change</a:t>
          </a:r>
          <a:r>
            <a:rPr lang="en-US" sz="3000" b="0" i="0" kern="1200"/>
            <a:t>. </a:t>
          </a:r>
          <a:endParaRPr lang="en-US" sz="3000" kern="1200"/>
        </a:p>
      </dsp:txBody>
      <dsp:txXfrm>
        <a:off x="613729" y="1280255"/>
        <a:ext cx="4545578" cy="2822343"/>
      </dsp:txXfrm>
    </dsp:sp>
    <dsp:sp modelId="{C132048E-4BA0-42BE-AC70-78C969BE1F05}">
      <dsp:nvSpPr>
        <dsp:cNvPr id="0" name=""/>
        <dsp:cNvSpPr/>
      </dsp:nvSpPr>
      <dsp:spPr>
        <a:xfrm>
          <a:off x="5771691" y="694100"/>
          <a:ext cx="4721192" cy="299795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BA1388-5E21-4A43-9877-ACF5CA2E3EAC}">
      <dsp:nvSpPr>
        <dsp:cNvPr id="0" name=""/>
        <dsp:cNvSpPr/>
      </dsp:nvSpPr>
      <dsp:spPr>
        <a:xfrm>
          <a:off x="6296268" y="1192448"/>
          <a:ext cx="4721192" cy="2997957"/>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b="0" i="0" kern="1200"/>
            <a:t>They will also serve as the </a:t>
          </a:r>
          <a:r>
            <a:rPr lang="en-US" sz="3000" b="1" i="0" u="sng" kern="1200">
              <a:solidFill>
                <a:schemeClr val="accent2">
                  <a:lumMod val="75000"/>
                </a:schemeClr>
              </a:solidFill>
            </a:rPr>
            <a:t>point person for ILPQC 1:1 QI Support</a:t>
          </a:r>
          <a:r>
            <a:rPr lang="en-US" sz="3000" b="0" i="0" kern="1200"/>
            <a:t> and are </a:t>
          </a:r>
          <a:r>
            <a:rPr lang="en-US" sz="3000" b="1" i="0" u="sng" kern="1200">
              <a:solidFill>
                <a:schemeClr val="accent1"/>
              </a:solidFill>
            </a:rPr>
            <a:t>responsible for responding directly to ILPQC</a:t>
          </a:r>
          <a:r>
            <a:rPr lang="en-US" sz="3000" b="0" i="0" kern="1200"/>
            <a:t>'s email requests.</a:t>
          </a:r>
          <a:endParaRPr lang="en-US" sz="3000" kern="1200"/>
        </a:p>
      </dsp:txBody>
      <dsp:txXfrm>
        <a:off x="6384075" y="1280255"/>
        <a:ext cx="4545578" cy="282234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636F45-938B-4525-908E-681336817BCB}">
      <dsp:nvSpPr>
        <dsp:cNvPr id="0" name=""/>
        <dsp:cNvSpPr/>
      </dsp:nvSpPr>
      <dsp:spPr>
        <a:xfrm>
          <a:off x="1764832" y="99317"/>
          <a:ext cx="887324" cy="8873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CE5FC25-44CC-4AE0-BCCC-F86FA716CA11}">
      <dsp:nvSpPr>
        <dsp:cNvPr id="0" name=""/>
        <dsp:cNvSpPr/>
      </dsp:nvSpPr>
      <dsp:spPr>
        <a:xfrm>
          <a:off x="1951170" y="285655"/>
          <a:ext cx="514648" cy="51464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E668BA-2340-4E9A-AFD5-E844996E8809}">
      <dsp:nvSpPr>
        <dsp:cNvPr id="0" name=""/>
        <dsp:cNvSpPr/>
      </dsp:nvSpPr>
      <dsp:spPr>
        <a:xfrm>
          <a:off x="2842298" y="99317"/>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rtl="0">
            <a:lnSpc>
              <a:spcPct val="100000"/>
            </a:lnSpc>
            <a:spcBef>
              <a:spcPct val="0"/>
            </a:spcBef>
            <a:spcAft>
              <a:spcPct val="35000"/>
            </a:spcAft>
            <a:buNone/>
          </a:pPr>
          <a:r>
            <a:rPr lang="en-US" sz="1700" b="0" i="0" kern="1200"/>
            <a:t>1. Monthly team meetings prescheduled</a:t>
          </a:r>
          <a:r>
            <a:rPr lang="en-US" sz="1700" b="0" i="0" kern="1200">
              <a:latin typeface="Calibri" panose="020F0502020204030204"/>
            </a:rPr>
            <a:t> with calendar invites</a:t>
          </a:r>
          <a:endParaRPr lang="en-US" sz="1700" kern="1200"/>
        </a:p>
      </dsp:txBody>
      <dsp:txXfrm>
        <a:off x="2842298" y="99317"/>
        <a:ext cx="2091551" cy="887324"/>
      </dsp:txXfrm>
    </dsp:sp>
    <dsp:sp modelId="{A2AA1B16-6472-438D-BA40-687729996721}">
      <dsp:nvSpPr>
        <dsp:cNvPr id="0" name=""/>
        <dsp:cNvSpPr/>
      </dsp:nvSpPr>
      <dsp:spPr>
        <a:xfrm>
          <a:off x="5298286" y="99317"/>
          <a:ext cx="887324" cy="887324"/>
        </a:xfrm>
        <a:prstGeom prst="ellipse">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F8AFBB2-9582-436F-B8EF-FE6091979EB0}">
      <dsp:nvSpPr>
        <dsp:cNvPr id="0" name=""/>
        <dsp:cNvSpPr/>
      </dsp:nvSpPr>
      <dsp:spPr>
        <a:xfrm>
          <a:off x="5484624" y="285655"/>
          <a:ext cx="514648" cy="51464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76AD23-5F2E-4880-9BC0-A64D1E9A4CDB}">
      <dsp:nvSpPr>
        <dsp:cNvPr id="0" name=""/>
        <dsp:cNvSpPr/>
      </dsp:nvSpPr>
      <dsp:spPr>
        <a:xfrm>
          <a:off x="6375752" y="99317"/>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2. Regular attendance on ILPQC webinars/calls</a:t>
          </a:r>
          <a:r>
            <a:rPr lang="en-US" sz="1700" b="0" i="0" kern="1200">
              <a:latin typeface="Calibri" panose="020F0502020204030204"/>
            </a:rPr>
            <a:t> </a:t>
          </a:r>
          <a:endParaRPr lang="en-US" sz="1700" kern="1200"/>
        </a:p>
      </dsp:txBody>
      <dsp:txXfrm>
        <a:off x="6375752" y="99317"/>
        <a:ext cx="2091551" cy="887324"/>
      </dsp:txXfrm>
    </dsp:sp>
    <dsp:sp modelId="{0A78D519-9B7E-4DB6-AA2A-E61909BB8023}">
      <dsp:nvSpPr>
        <dsp:cNvPr id="0" name=""/>
        <dsp:cNvSpPr/>
      </dsp:nvSpPr>
      <dsp:spPr>
        <a:xfrm>
          <a:off x="1764832" y="1723465"/>
          <a:ext cx="887324" cy="887324"/>
        </a:xfrm>
        <a:prstGeom prst="ellipse">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F208B14-AF27-419C-A31E-3FEBF2D2D5A5}">
      <dsp:nvSpPr>
        <dsp:cNvPr id="0" name=""/>
        <dsp:cNvSpPr/>
      </dsp:nvSpPr>
      <dsp:spPr>
        <a:xfrm>
          <a:off x="1951170" y="1909803"/>
          <a:ext cx="514648" cy="51464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9BC5FC-06F6-4CCA-A0C8-ED9A19A5F73D}">
      <dsp:nvSpPr>
        <dsp:cNvPr id="0" name=""/>
        <dsp:cNvSpPr/>
      </dsp:nvSpPr>
      <dsp:spPr>
        <a:xfrm>
          <a:off x="2842298" y="1723465"/>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3. Agendas prepared for each meeting</a:t>
          </a:r>
          <a:r>
            <a:rPr lang="en-US" sz="1700" b="0" i="0" kern="1200">
              <a:latin typeface="Calibri" panose="020F0502020204030204"/>
            </a:rPr>
            <a:t> </a:t>
          </a:r>
          <a:endParaRPr lang="en-US" sz="1700" kern="1200"/>
        </a:p>
      </dsp:txBody>
      <dsp:txXfrm>
        <a:off x="2842298" y="1723465"/>
        <a:ext cx="2091551" cy="887324"/>
      </dsp:txXfrm>
    </dsp:sp>
    <dsp:sp modelId="{0AF98EE8-4DFF-46C1-8F1D-69BF9C7C1376}">
      <dsp:nvSpPr>
        <dsp:cNvPr id="0" name=""/>
        <dsp:cNvSpPr/>
      </dsp:nvSpPr>
      <dsp:spPr>
        <a:xfrm>
          <a:off x="5298286" y="1723465"/>
          <a:ext cx="887324" cy="887324"/>
        </a:xfrm>
        <a:prstGeom prst="ellipse">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3BA4C1-89BD-494E-BD6A-F86822F076DD}">
      <dsp:nvSpPr>
        <dsp:cNvPr id="0" name=""/>
        <dsp:cNvSpPr/>
      </dsp:nvSpPr>
      <dsp:spPr>
        <a:xfrm>
          <a:off x="5484624" y="1909803"/>
          <a:ext cx="514648" cy="51464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80DD74D-E412-4985-BB79-D508D786D3EE}">
      <dsp:nvSpPr>
        <dsp:cNvPr id="0" name=""/>
        <dsp:cNvSpPr/>
      </dsp:nvSpPr>
      <dsp:spPr>
        <a:xfrm>
          <a:off x="6375752" y="1723465"/>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4. Data reviewed with QI team</a:t>
          </a:r>
          <a:r>
            <a:rPr lang="en-US" sz="1700" b="0" i="0" kern="1200">
              <a:latin typeface="Calibri" panose="020F0502020204030204"/>
            </a:rPr>
            <a:t> </a:t>
          </a:r>
          <a:endParaRPr lang="en-US" sz="1700" kern="1200"/>
        </a:p>
      </dsp:txBody>
      <dsp:txXfrm>
        <a:off x="6375752" y="1723465"/>
        <a:ext cx="2091551" cy="887324"/>
      </dsp:txXfrm>
    </dsp:sp>
    <dsp:sp modelId="{85792F6C-B25B-4ED3-B5DF-3E65F8D76D41}">
      <dsp:nvSpPr>
        <dsp:cNvPr id="0" name=""/>
        <dsp:cNvSpPr/>
      </dsp:nvSpPr>
      <dsp:spPr>
        <a:xfrm>
          <a:off x="1764832" y="3347613"/>
          <a:ext cx="887324" cy="887324"/>
        </a:xfrm>
        <a:prstGeom prst="ellipse">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E61ACAA-093C-4126-9028-D2C9E4467052}">
      <dsp:nvSpPr>
        <dsp:cNvPr id="0" name=""/>
        <dsp:cNvSpPr/>
      </dsp:nvSpPr>
      <dsp:spPr>
        <a:xfrm>
          <a:off x="1951170" y="3533952"/>
          <a:ext cx="514648" cy="51464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E28CF7-5497-41E9-B080-0CA0D33E5543}">
      <dsp:nvSpPr>
        <dsp:cNvPr id="0" name=""/>
        <dsp:cNvSpPr/>
      </dsp:nvSpPr>
      <dsp:spPr>
        <a:xfrm>
          <a:off x="2842298" y="3347613"/>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5. Clear action items for next meeting</a:t>
          </a:r>
          <a:r>
            <a:rPr lang="en-US" sz="1700" b="0" i="0" kern="1200">
              <a:latin typeface="Calibri" panose="020F0502020204030204"/>
            </a:rPr>
            <a:t> </a:t>
          </a:r>
          <a:endParaRPr lang="en-US" sz="1700" kern="1200"/>
        </a:p>
      </dsp:txBody>
      <dsp:txXfrm>
        <a:off x="2842298" y="3347613"/>
        <a:ext cx="2091551" cy="887324"/>
      </dsp:txXfrm>
    </dsp:sp>
    <dsp:sp modelId="{DD837F10-5575-40FE-A22B-02F8A1301327}">
      <dsp:nvSpPr>
        <dsp:cNvPr id="0" name=""/>
        <dsp:cNvSpPr/>
      </dsp:nvSpPr>
      <dsp:spPr>
        <a:xfrm>
          <a:off x="5298286" y="3347613"/>
          <a:ext cx="887324" cy="887324"/>
        </a:xfrm>
        <a:prstGeom prst="ellipse">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DFFB24-AD2C-4786-9935-1E06FE5DFDCF}">
      <dsp:nvSpPr>
        <dsp:cNvPr id="0" name=""/>
        <dsp:cNvSpPr/>
      </dsp:nvSpPr>
      <dsp:spPr>
        <a:xfrm>
          <a:off x="5484624" y="3533952"/>
          <a:ext cx="514648" cy="514648"/>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F80422-6079-430D-9B8D-1A155451C2D4}">
      <dsp:nvSpPr>
        <dsp:cNvPr id="0" name=""/>
        <dsp:cNvSpPr/>
      </dsp:nvSpPr>
      <dsp:spPr>
        <a:xfrm>
          <a:off x="6375752" y="3347613"/>
          <a:ext cx="2091551" cy="887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755650">
            <a:lnSpc>
              <a:spcPct val="100000"/>
            </a:lnSpc>
            <a:spcBef>
              <a:spcPct val="0"/>
            </a:spcBef>
            <a:spcAft>
              <a:spcPct val="35000"/>
            </a:spcAft>
            <a:buNone/>
          </a:pPr>
          <a:r>
            <a:rPr lang="en-US" sz="1700" b="0" i="0" kern="1200"/>
            <a:t>6. Clear &amp; short communications with follow-up</a:t>
          </a:r>
          <a:endParaRPr lang="en-US" sz="1700" kern="1200"/>
        </a:p>
      </dsp:txBody>
      <dsp:txXfrm>
        <a:off x="6375752" y="3347613"/>
        <a:ext cx="2091551" cy="88732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a:t>This is a long initiative! We cannot do all of this work at once.</a:t>
          </a:r>
          <a:endParaRPr lang="en-US" sz="2500" kern="120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a:t>We will work together </a:t>
          </a:r>
          <a:r>
            <a:rPr lang="en-US" sz="2500" b="0" i="0" kern="1200">
              <a:latin typeface="Calibri" panose="020F0502020204030204"/>
            </a:rPr>
            <a:t>to </a:t>
          </a:r>
          <a:r>
            <a:rPr lang="en-US" sz="2500" b="0" i="0" kern="1200"/>
            <a:t>implement strategies one </a:t>
          </a:r>
          <a:r>
            <a:rPr lang="en-US" sz="2500" b="0" i="0" kern="1200">
              <a:latin typeface="Calibri" panose="020F0502020204030204"/>
            </a:rPr>
            <a:t>driver</a:t>
          </a:r>
          <a:r>
            <a:rPr lang="en-US" sz="2500" b="0" i="0" kern="1200"/>
            <a:t> at a time</a:t>
          </a:r>
          <a:endParaRPr lang="en-US" sz="2500" kern="120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a:t>Get started by working on implementing the 10 Steps Getting Started!</a:t>
          </a:r>
          <a:endParaRPr lang="en-US" sz="2500" kern="1200"/>
        </a:p>
      </dsp:txBody>
      <dsp:txXfrm>
        <a:off x="1730095" y="3745434"/>
        <a:ext cx="4859164" cy="149791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962599-610D-41A6-A308-3C61676FA10F}">
      <dsp:nvSpPr>
        <dsp:cNvPr id="0" name=""/>
        <dsp:cNvSpPr/>
      </dsp:nvSpPr>
      <dsp:spPr>
        <a:xfrm>
          <a:off x="4916" y="1153502"/>
          <a:ext cx="3761275" cy="1504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marL="0" lvl="0" indent="0" algn="ctr" defTabSz="1511300" rtl="0">
            <a:lnSpc>
              <a:spcPct val="90000"/>
            </a:lnSpc>
            <a:spcBef>
              <a:spcPct val="0"/>
            </a:spcBef>
            <a:spcAft>
              <a:spcPct val="35000"/>
            </a:spcAft>
            <a:buNone/>
          </a:pPr>
          <a:r>
            <a:rPr lang="en-US" sz="3400" kern="1200" dirty="0">
              <a:solidFill>
                <a:schemeClr val="bg1"/>
              </a:solidFill>
              <a:latin typeface="Calibri" panose="020F0502020204030204"/>
            </a:rPr>
            <a:t>First ESSI Monthly Webinar</a:t>
          </a:r>
        </a:p>
      </dsp:txBody>
      <dsp:txXfrm>
        <a:off x="757171" y="1153502"/>
        <a:ext cx="2256765" cy="1504510"/>
      </dsp:txXfrm>
    </dsp:sp>
    <dsp:sp modelId="{40C493D5-84C5-414A-B25E-F0516F30F1DB}">
      <dsp:nvSpPr>
        <dsp:cNvPr id="0" name=""/>
        <dsp:cNvSpPr/>
      </dsp:nvSpPr>
      <dsp:spPr>
        <a:xfrm>
          <a:off x="3277226" y="1281385"/>
          <a:ext cx="3121858"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solidFill>
                <a:srgbClr val="444444"/>
              </a:solidFill>
              <a:latin typeface="Calibri" panose="020F0502020204030204"/>
            </a:rPr>
            <a:t>January </a:t>
          </a:r>
          <a:r>
            <a:rPr lang="en-US" sz="2300" kern="1200" dirty="0">
              <a:latin typeface="Calibri" panose="020F0502020204030204"/>
            </a:rPr>
            <a:t>22nd, 2023</a:t>
          </a:r>
        </a:p>
      </dsp:txBody>
      <dsp:txXfrm>
        <a:off x="3901598" y="1281385"/>
        <a:ext cx="1873115" cy="1248743"/>
      </dsp:txXfrm>
    </dsp:sp>
    <dsp:sp modelId="{E4E686C1-FC9F-4B2F-8F63-DDC471B0DEB4}">
      <dsp:nvSpPr>
        <dsp:cNvPr id="0" name=""/>
        <dsp:cNvSpPr/>
      </dsp:nvSpPr>
      <dsp:spPr>
        <a:xfrm>
          <a:off x="5962024" y="1281385"/>
          <a:ext cx="5718120"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Getting started with healthcare provider and nurse education</a:t>
          </a:r>
        </a:p>
      </dsp:txBody>
      <dsp:txXfrm>
        <a:off x="6586396" y="1281385"/>
        <a:ext cx="4469377" cy="1248743"/>
      </dsp:txXfrm>
    </dsp:sp>
    <dsp:sp modelId="{5D5075C0-CF76-44AB-9B25-E029186A86C7}">
      <dsp:nvSpPr>
        <dsp:cNvPr id="0" name=""/>
        <dsp:cNvSpPr/>
      </dsp:nvSpPr>
      <dsp:spPr>
        <a:xfrm>
          <a:off x="4916" y="2868643"/>
          <a:ext cx="3761275" cy="1504510"/>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180" tIns="21590" rIns="0" bIns="21590" numCol="1" spcCol="1270" anchor="ctr" anchorCtr="0">
          <a:noAutofit/>
        </a:bodyPr>
        <a:lstStyle/>
        <a:p>
          <a:pPr marL="0" lvl="0" indent="0" algn="ctr" defTabSz="1511300">
            <a:lnSpc>
              <a:spcPct val="90000"/>
            </a:lnSpc>
            <a:spcBef>
              <a:spcPct val="0"/>
            </a:spcBef>
            <a:spcAft>
              <a:spcPct val="35000"/>
            </a:spcAft>
            <a:buNone/>
          </a:pPr>
          <a:r>
            <a:rPr lang="en-US" sz="3400" kern="1200" dirty="0">
              <a:latin typeface="Calibri" panose="020F0502020204030204"/>
            </a:rPr>
            <a:t>ESSI Data Training Webinars</a:t>
          </a:r>
          <a:endParaRPr lang="en-US" sz="3400" kern="1200" dirty="0"/>
        </a:p>
      </dsp:txBody>
      <dsp:txXfrm>
        <a:off x="757171" y="2868643"/>
        <a:ext cx="2256765" cy="1504510"/>
      </dsp:txXfrm>
    </dsp:sp>
    <dsp:sp modelId="{DBA3233D-396D-4828-ABB1-05C8FA826E94}">
      <dsp:nvSpPr>
        <dsp:cNvPr id="0" name=""/>
        <dsp:cNvSpPr/>
      </dsp:nvSpPr>
      <dsp:spPr>
        <a:xfrm>
          <a:off x="3277226" y="2996527"/>
          <a:ext cx="2715548"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January 11th, 2023</a:t>
          </a:r>
        </a:p>
      </dsp:txBody>
      <dsp:txXfrm>
        <a:off x="3901598" y="2996527"/>
        <a:ext cx="1466805" cy="1248743"/>
      </dsp:txXfrm>
    </dsp:sp>
    <dsp:sp modelId="{4507A95F-1518-44E3-95D0-73A0EC79E6E5}">
      <dsp:nvSpPr>
        <dsp:cNvPr id="0" name=""/>
        <dsp:cNvSpPr/>
      </dsp:nvSpPr>
      <dsp:spPr>
        <a:xfrm>
          <a:off x="5555714" y="2996527"/>
          <a:ext cx="2599946"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latin typeface="Calibri" panose="020F0502020204030204"/>
            </a:rPr>
            <a:t>January 18th, 2023</a:t>
          </a:r>
          <a:endParaRPr lang="en-US" sz="2300" kern="1200" dirty="0"/>
        </a:p>
      </dsp:txBody>
      <dsp:txXfrm>
        <a:off x="6180086" y="2996527"/>
        <a:ext cx="1351203" cy="1248743"/>
      </dsp:txXfrm>
    </dsp:sp>
    <dsp:sp modelId="{D8BA990C-EEA2-4E44-B076-9170393433C7}">
      <dsp:nvSpPr>
        <dsp:cNvPr id="0" name=""/>
        <dsp:cNvSpPr/>
      </dsp:nvSpPr>
      <dsp:spPr>
        <a:xfrm>
          <a:off x="7718600" y="2996527"/>
          <a:ext cx="4200772" cy="1248743"/>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9210" tIns="14605" rIns="0" bIns="14605" numCol="1" spcCol="1270" anchor="ctr" anchorCtr="0">
          <a:noAutofit/>
        </a:bodyPr>
        <a:lstStyle/>
        <a:p>
          <a:pPr marL="0" lvl="0" indent="0" algn="ctr" defTabSz="1022350" rtl="0">
            <a:lnSpc>
              <a:spcPct val="90000"/>
            </a:lnSpc>
            <a:spcBef>
              <a:spcPct val="0"/>
            </a:spcBef>
            <a:spcAft>
              <a:spcPct val="35000"/>
            </a:spcAft>
            <a:buNone/>
          </a:pPr>
          <a:r>
            <a:rPr lang="en-US" sz="2300" kern="1200" dirty="0"/>
            <a:t>How to collect data, access redcap, enter data and review reports</a:t>
          </a:r>
        </a:p>
      </dsp:txBody>
      <dsp:txXfrm>
        <a:off x="8342972" y="2996527"/>
        <a:ext cx="2952029" cy="12487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368261-AEE3-40EB-959D-B071339ABA87}">
      <dsp:nvSpPr>
        <dsp:cNvPr id="0" name=""/>
        <dsp:cNvSpPr/>
      </dsp:nvSpPr>
      <dsp:spPr>
        <a:xfrm>
          <a:off x="0" y="81701"/>
          <a:ext cx="6589260"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a:t>At your first meeting discuss</a:t>
          </a:r>
          <a:r>
            <a:rPr lang="en-US" sz="3100" b="0" i="0" kern="1200">
              <a:latin typeface="Calibri" panose="020F0502020204030204"/>
            </a:rPr>
            <a:t>:</a:t>
          </a:r>
          <a:endParaRPr lang="en-US" sz="3100" kern="1200"/>
        </a:p>
      </dsp:txBody>
      <dsp:txXfrm>
        <a:off x="36296" y="117997"/>
        <a:ext cx="6516668" cy="670943"/>
      </dsp:txXfrm>
    </dsp:sp>
    <dsp:sp modelId="{EEAA2F8B-9C2C-4C65-B6FA-D7485E5103E0}">
      <dsp:nvSpPr>
        <dsp:cNvPr id="0" name=""/>
        <dsp:cNvSpPr/>
      </dsp:nvSpPr>
      <dsp:spPr>
        <a:xfrm>
          <a:off x="0" y="825236"/>
          <a:ext cx="6589260" cy="8342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US" sz="2400" b="0" i="0" kern="1200"/>
            <a:t>How often?</a:t>
          </a:r>
          <a:r>
            <a:rPr lang="en-US" sz="2400" b="0" i="0" kern="1200">
              <a:latin typeface="Calibri" panose="020F0502020204030204"/>
            </a:rPr>
            <a:t> </a:t>
          </a:r>
          <a:endParaRPr lang="en-US" sz="2400" kern="1200"/>
        </a:p>
        <a:p>
          <a:pPr marL="228600" lvl="1" indent="-228600" algn="l" defTabSz="1066800">
            <a:lnSpc>
              <a:spcPct val="90000"/>
            </a:lnSpc>
            <a:spcBef>
              <a:spcPct val="0"/>
            </a:spcBef>
            <a:spcAft>
              <a:spcPct val="20000"/>
            </a:spcAft>
            <a:buChar char="•"/>
          </a:pPr>
          <a:r>
            <a:rPr lang="en-US" sz="2400" b="0" i="0" kern="1200"/>
            <a:t>Who should join?</a:t>
          </a:r>
          <a:endParaRPr lang="en-US" sz="2400" kern="1200"/>
        </a:p>
      </dsp:txBody>
      <dsp:txXfrm>
        <a:off x="0" y="825236"/>
        <a:ext cx="6589260" cy="834210"/>
      </dsp:txXfrm>
    </dsp:sp>
    <dsp:sp modelId="{5A7E119B-54DB-432A-88F7-7896131A6EC0}">
      <dsp:nvSpPr>
        <dsp:cNvPr id="0" name=""/>
        <dsp:cNvSpPr/>
      </dsp:nvSpPr>
      <dsp:spPr>
        <a:xfrm>
          <a:off x="0" y="1659446"/>
          <a:ext cx="6589260" cy="743535"/>
        </a:xfrm>
        <a:prstGeom prst="round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i="0" u="sng" kern="1200"/>
            <a:t>Tips from Teams at AC:</a:t>
          </a:r>
          <a:endParaRPr lang="en-US" sz="3100" kern="1200"/>
        </a:p>
      </dsp:txBody>
      <dsp:txXfrm>
        <a:off x="36296" y="1695742"/>
        <a:ext cx="6516668" cy="670943"/>
      </dsp:txXfrm>
    </dsp:sp>
    <dsp:sp modelId="{2E60D2F4-3711-4957-913D-3B8FDA1058CA}">
      <dsp:nvSpPr>
        <dsp:cNvPr id="0" name=""/>
        <dsp:cNvSpPr/>
      </dsp:nvSpPr>
      <dsp:spPr>
        <a:xfrm>
          <a:off x="0" y="2402981"/>
          <a:ext cx="6589260" cy="2759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b="0" i="0" kern="1200"/>
            <a:t>Schedule meetings on the same day and time</a:t>
          </a:r>
          <a:endParaRPr lang="en-US" sz="2400" kern="1200"/>
        </a:p>
        <a:p>
          <a:pPr marL="228600" lvl="1" indent="-228600" algn="l" defTabSz="1066800" rtl="0">
            <a:lnSpc>
              <a:spcPct val="90000"/>
            </a:lnSpc>
            <a:spcBef>
              <a:spcPct val="0"/>
            </a:spcBef>
            <a:spcAft>
              <a:spcPct val="20000"/>
            </a:spcAft>
            <a:buChar char="•"/>
          </a:pPr>
          <a:r>
            <a:rPr lang="en-US" sz="2400" b="0" i="0" kern="1200"/>
            <a:t>Set a time limit</a:t>
          </a:r>
          <a:r>
            <a:rPr lang="en-US" sz="2400" b="0" i="0" kern="1200">
              <a:latin typeface="Calibri" panose="020F0502020204030204"/>
            </a:rPr>
            <a:t> </a:t>
          </a:r>
          <a:endParaRPr lang="en-US" sz="2400" kern="1200"/>
        </a:p>
        <a:p>
          <a:pPr marL="228600" lvl="1" indent="-228600" algn="l" defTabSz="1066800" rtl="0">
            <a:lnSpc>
              <a:spcPct val="90000"/>
            </a:lnSpc>
            <a:spcBef>
              <a:spcPct val="0"/>
            </a:spcBef>
            <a:spcAft>
              <a:spcPct val="20000"/>
            </a:spcAft>
            <a:buChar char="•"/>
          </a:pPr>
          <a:r>
            <a:rPr lang="en-US" sz="2400" b="0" i="0" kern="1200"/>
            <a:t>Have an agenda and state meeting objectives</a:t>
          </a:r>
          <a:r>
            <a:rPr lang="en-US" sz="2400" b="0" i="0" kern="1200">
              <a:latin typeface="Calibri" panose="020F0502020204030204"/>
            </a:rPr>
            <a:t> </a:t>
          </a:r>
          <a:endParaRPr lang="en-US" sz="2400" kern="1200"/>
        </a:p>
        <a:p>
          <a:pPr marL="228600" lvl="1" indent="-228600" algn="l" defTabSz="1066800" rtl="0">
            <a:lnSpc>
              <a:spcPct val="90000"/>
            </a:lnSpc>
            <a:spcBef>
              <a:spcPct val="0"/>
            </a:spcBef>
            <a:spcAft>
              <a:spcPct val="20000"/>
            </a:spcAft>
            <a:buChar char="•"/>
          </a:pPr>
          <a:r>
            <a:rPr lang="en-US" sz="2400" b="0" i="0" kern="1200"/>
            <a:t>Review old news and achievements in the beginning</a:t>
          </a:r>
          <a:r>
            <a:rPr lang="en-US" sz="2400" b="0" i="0" kern="1200">
              <a:latin typeface="Calibri" panose="020F0502020204030204"/>
            </a:rPr>
            <a:t> </a:t>
          </a:r>
          <a:endParaRPr lang="en-US" sz="2400" kern="1200"/>
        </a:p>
        <a:p>
          <a:pPr marL="228600" lvl="1" indent="-228600" algn="l" defTabSz="1066800">
            <a:lnSpc>
              <a:spcPct val="90000"/>
            </a:lnSpc>
            <a:spcBef>
              <a:spcPct val="0"/>
            </a:spcBef>
            <a:spcAft>
              <a:spcPct val="20000"/>
            </a:spcAft>
            <a:buChar char="•"/>
          </a:pPr>
          <a:r>
            <a:rPr lang="en-US" sz="2400" b="0" i="0" kern="1200"/>
            <a:t>Ensure there are different ways to attend meetings- live, virtual, recording</a:t>
          </a:r>
          <a:endParaRPr lang="en-US" sz="2400" kern="1200"/>
        </a:p>
      </dsp:txBody>
      <dsp:txXfrm>
        <a:off x="0" y="2402981"/>
        <a:ext cx="6589260" cy="275930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209206-939B-4D9F-9469-A4489B6BFEEE}">
      <dsp:nvSpPr>
        <dsp:cNvPr id="0" name=""/>
        <dsp:cNvSpPr/>
      </dsp:nvSpPr>
      <dsp:spPr>
        <a:xfrm>
          <a:off x="0" y="2288"/>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CB6EB2-ADA0-4D68-9D60-F7B7318090E9}">
      <dsp:nvSpPr>
        <dsp:cNvPr id="0" name=""/>
        <dsp:cNvSpPr/>
      </dsp:nvSpPr>
      <dsp:spPr>
        <a:xfrm>
          <a:off x="350852" y="263253"/>
          <a:ext cx="637913" cy="63791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CFE20D-FE69-4720-B81A-979737D2AC10}">
      <dsp:nvSpPr>
        <dsp:cNvPr id="0" name=""/>
        <dsp:cNvSpPr/>
      </dsp:nvSpPr>
      <dsp:spPr>
        <a:xfrm>
          <a:off x="1339618" y="2288"/>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o is educated? </a:t>
          </a:r>
          <a:endParaRPr lang="en-US" sz="2200" kern="1200"/>
        </a:p>
      </dsp:txBody>
      <dsp:txXfrm>
        <a:off x="1339618" y="2288"/>
        <a:ext cx="5024605" cy="1159843"/>
      </dsp:txXfrm>
    </dsp:sp>
    <dsp:sp modelId="{20FF99E0-E872-4C87-AB89-86E9578C8DDF}">
      <dsp:nvSpPr>
        <dsp:cNvPr id="0" name=""/>
        <dsp:cNvSpPr/>
      </dsp:nvSpPr>
      <dsp:spPr>
        <a:xfrm>
          <a:off x="0" y="1452092"/>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328E90-B613-4A5A-895B-B7300879B71B}">
      <dsp:nvSpPr>
        <dsp:cNvPr id="0" name=""/>
        <dsp:cNvSpPr/>
      </dsp:nvSpPr>
      <dsp:spPr>
        <a:xfrm>
          <a:off x="350852" y="1713057"/>
          <a:ext cx="637913" cy="63791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A018F78-18F2-4046-8232-2DF71BD5D9D9}">
      <dsp:nvSpPr>
        <dsp:cNvPr id="0" name=""/>
        <dsp:cNvSpPr/>
      </dsp:nvSpPr>
      <dsp:spPr>
        <a:xfrm>
          <a:off x="1339618" y="1452092"/>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at is the format? </a:t>
          </a:r>
          <a:endParaRPr lang="en-US" sz="2200" kern="1200"/>
        </a:p>
      </dsp:txBody>
      <dsp:txXfrm>
        <a:off x="1339618" y="1452092"/>
        <a:ext cx="5024605" cy="1159843"/>
      </dsp:txXfrm>
    </dsp:sp>
    <dsp:sp modelId="{9C73F8EA-A8FC-4F63-86A9-E4A9E76DCAC4}">
      <dsp:nvSpPr>
        <dsp:cNvPr id="0" name=""/>
        <dsp:cNvSpPr/>
      </dsp:nvSpPr>
      <dsp:spPr>
        <a:xfrm>
          <a:off x="0" y="2901896"/>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C0EDBC-4130-49F0-BD1C-7715E15128FE}">
      <dsp:nvSpPr>
        <dsp:cNvPr id="0" name=""/>
        <dsp:cNvSpPr/>
      </dsp:nvSpPr>
      <dsp:spPr>
        <a:xfrm>
          <a:off x="350852" y="3162861"/>
          <a:ext cx="637913" cy="6379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E3F42C-2B9F-4364-8C4A-77E20F78A27E}">
      <dsp:nvSpPr>
        <dsp:cNvPr id="0" name=""/>
        <dsp:cNvSpPr/>
      </dsp:nvSpPr>
      <dsp:spPr>
        <a:xfrm>
          <a:off x="1339618" y="2901896"/>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effective is it? </a:t>
          </a:r>
          <a:endParaRPr lang="en-US" sz="2200" kern="1200"/>
        </a:p>
      </dsp:txBody>
      <dsp:txXfrm>
        <a:off x="1339618" y="2901896"/>
        <a:ext cx="5024605" cy="1159843"/>
      </dsp:txXfrm>
    </dsp:sp>
    <dsp:sp modelId="{7E206A1E-ED79-40B1-845D-015A7CCFB18F}">
      <dsp:nvSpPr>
        <dsp:cNvPr id="0" name=""/>
        <dsp:cNvSpPr/>
      </dsp:nvSpPr>
      <dsp:spPr>
        <a:xfrm>
          <a:off x="0" y="4351700"/>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D2A605-B3F5-4D19-BB4A-25D4F28B3FBF}">
      <dsp:nvSpPr>
        <dsp:cNvPr id="0" name=""/>
        <dsp:cNvSpPr/>
      </dsp:nvSpPr>
      <dsp:spPr>
        <a:xfrm>
          <a:off x="350852" y="4612665"/>
          <a:ext cx="637913" cy="6379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576307-21A1-4AAF-A60F-F743A7342BC4}">
      <dsp:nvSpPr>
        <dsp:cNvPr id="0" name=""/>
        <dsp:cNvSpPr/>
      </dsp:nvSpPr>
      <dsp:spPr>
        <a:xfrm>
          <a:off x="1339618" y="4351700"/>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can it be improved?</a:t>
          </a:r>
          <a:endParaRPr lang="en-US" sz="2200" kern="1200"/>
        </a:p>
      </dsp:txBody>
      <dsp:txXfrm>
        <a:off x="1339618" y="4351700"/>
        <a:ext cx="5024605" cy="1159843"/>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1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4.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5.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6.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1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rming the Team (IHI)</a:t>
            </a:r>
          </a:p>
          <a:p>
            <a:r>
              <a:rPr lang="en-US"/>
              <a:t>Improvement work thrives with a team. People involved in parts of the process or system that you are trying to improve bring diverse perspectives and expertise that can fuel more effective ideas for change that are more likely to be sustained while building will to make improvements. </a:t>
            </a:r>
            <a:endParaRPr lang="en-US">
              <a:cs typeface="Calibri"/>
            </a:endParaRPr>
          </a:p>
          <a:p>
            <a:r>
              <a:rPr lang="en-US"/>
              <a:t>When forming a team, it is vital to apply an equity lens to identify team members and to engage the individuals who will most benefit from the improvement on the team.</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1</a:t>
            </a:fld>
            <a:endParaRPr lang="en-US"/>
          </a:p>
        </p:txBody>
      </p:sp>
    </p:spTree>
    <p:extLst>
      <p:ext uri="{BB962C8B-B14F-4D97-AF65-F5344CB8AC3E}">
        <p14:creationId xmlns:p14="http://schemas.microsoft.com/office/powerpoint/2010/main" val="421683110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3</a:t>
            </a:fld>
            <a:endParaRPr lang="en-US"/>
          </a:p>
        </p:txBody>
      </p:sp>
    </p:spTree>
    <p:extLst>
      <p:ext uri="{BB962C8B-B14F-4D97-AF65-F5344CB8AC3E}">
        <p14:creationId xmlns:p14="http://schemas.microsoft.com/office/powerpoint/2010/main" val="2484748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4</a:t>
            </a:fld>
            <a:endParaRPr lang="en-US"/>
          </a:p>
        </p:txBody>
      </p:sp>
    </p:spTree>
    <p:extLst>
      <p:ext uri="{BB962C8B-B14F-4D97-AF65-F5344CB8AC3E}">
        <p14:creationId xmlns:p14="http://schemas.microsoft.com/office/powerpoint/2010/main" val="15588579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0</a:t>
            </a:fld>
            <a:endParaRPr lang="en-US"/>
          </a:p>
        </p:txBody>
      </p:sp>
    </p:spTree>
    <p:extLst>
      <p:ext uri="{BB962C8B-B14F-4D97-AF65-F5344CB8AC3E}">
        <p14:creationId xmlns:p14="http://schemas.microsoft.com/office/powerpoint/2010/main" val="14812765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ere is the ESSI key driver diagram. </a:t>
            </a:r>
          </a:p>
          <a:p>
            <a:r>
              <a:rPr lang="en-US"/>
              <a:t>It allows us to distill our vision into manageable tasks.</a:t>
            </a:r>
            <a:endParaRPr lang="en-US">
              <a:cs typeface="Calibri"/>
            </a:endParaRPr>
          </a:p>
          <a:p>
            <a:r>
              <a:rPr lang="en-US"/>
              <a:t>It organizes our improvement aim and the key drivers  into a learning and communication framework. </a:t>
            </a:r>
            <a:endParaRPr lang="en-US">
              <a:cs typeface="Calibri"/>
            </a:endParaRPr>
          </a:p>
          <a:p>
            <a:endParaRPr lang="en-US"/>
          </a:p>
          <a:p>
            <a:endParaRPr lang="en-US"/>
          </a:p>
        </p:txBody>
      </p:sp>
      <p:sp>
        <p:nvSpPr>
          <p:cNvPr id="4" name="Slide Number Placeholder 3"/>
          <p:cNvSpPr>
            <a:spLocks noGrp="1"/>
          </p:cNvSpPr>
          <p:nvPr>
            <p:ph type="sldNum" sz="quarter" idx="5"/>
          </p:nvPr>
        </p:nvSpPr>
        <p:spPr/>
        <p:txBody>
          <a:bodyPr/>
          <a:lstStyle/>
          <a:p>
            <a:fld id="{1EBD1989-80A6-4526-B6CA-3DFDBBCC42D0}" type="slidenum">
              <a:rPr lang="en-US"/>
              <a:t>31</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icture of calenda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D1989-80A6-4526-B6CA-3DFDBBCC42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28149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Add animation for all tools to appear at once</a:t>
            </a:r>
          </a:p>
        </p:txBody>
      </p:sp>
      <p:sp>
        <p:nvSpPr>
          <p:cNvPr id="4" name="Slide Number Placeholder 3"/>
          <p:cNvSpPr>
            <a:spLocks noGrp="1"/>
          </p:cNvSpPr>
          <p:nvPr>
            <p:ph type="sldNum" sz="quarter" idx="5"/>
          </p:nvPr>
        </p:nvSpPr>
        <p:spPr/>
        <p:txBody>
          <a:bodyPr/>
          <a:lstStyle/>
          <a:p>
            <a:fld id="{1EBD1989-80A6-4526-B6CA-3DFDBBCC42D0}" type="slidenum">
              <a:rPr lang="en-US"/>
              <a:t>44</a:t>
            </a:fld>
            <a:endParaRPr lang="en-US"/>
          </a:p>
        </p:txBody>
      </p:sp>
    </p:spTree>
    <p:extLst>
      <p:ext uri="{BB962C8B-B14F-4D97-AF65-F5344CB8AC3E}">
        <p14:creationId xmlns:p14="http://schemas.microsoft.com/office/powerpoint/2010/main" val="33498129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7</a:t>
            </a:fld>
            <a:endParaRPr lang="en-US"/>
          </a:p>
        </p:txBody>
      </p:sp>
    </p:spTree>
    <p:extLst>
      <p:ext uri="{BB962C8B-B14F-4D97-AF65-F5344CB8AC3E}">
        <p14:creationId xmlns:p14="http://schemas.microsoft.com/office/powerpoint/2010/main" val="740897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49</a:t>
            </a:fld>
            <a:endParaRPr lang="en-US"/>
          </a:p>
        </p:txBody>
      </p:sp>
    </p:spTree>
    <p:extLst>
      <p:ext uri="{BB962C8B-B14F-4D97-AF65-F5344CB8AC3E}">
        <p14:creationId xmlns:p14="http://schemas.microsoft.com/office/powerpoint/2010/main" val="31322412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1EBD1989-80A6-4526-B6CA-3DFDBBCC42D0}" type="slidenum">
              <a:rPr lang="en-US"/>
              <a:t>3</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indent="-171450">
              <a:spcBef>
                <a:spcPts val="1000"/>
              </a:spcBef>
              <a:spcAft>
                <a:spcPts val="1000"/>
              </a:spcAft>
              <a:buFont typeface="Arial"/>
              <a:buChar char="•"/>
            </a:pPr>
            <a:r>
              <a:rPr lang="en-US"/>
              <a:t>Implement data-driven, evidence-based practices to improve maternal and infant outcomes using quality improvement science  </a:t>
            </a:r>
          </a:p>
          <a:p>
            <a:pPr marL="171450" indent="-171450">
              <a:spcBef>
                <a:spcPts val="1000"/>
              </a:spcBef>
              <a:spcAft>
                <a:spcPts val="1000"/>
              </a:spcAft>
              <a:buFont typeface="Arial"/>
              <a:buChar char="•"/>
            </a:pPr>
            <a:r>
              <a:rPr lang="en-US"/>
              <a:t>Over 95% of birthing hospitals and neonatal intensive care units participate in ILPQC </a:t>
            </a:r>
            <a:endParaRPr lang="en-US">
              <a:cs typeface="Calibri"/>
            </a:endParaRPr>
          </a:p>
          <a:p>
            <a:pPr marL="171450" indent="-171450">
              <a:spcBef>
                <a:spcPts val="1000"/>
              </a:spcBef>
              <a:spcAft>
                <a:spcPts val="1000"/>
              </a:spcAft>
              <a:buFont typeface="Arial"/>
              <a:buChar char="•"/>
            </a:pPr>
            <a:r>
              <a:rPr lang="en-US"/>
              <a:t>Collaborations with OB and Neonatal Community Advisory Boards, and OB and Neonatal Advisory Workgroups participation across the state</a:t>
            </a:r>
            <a:endParaRPr lang="en-US">
              <a:cs typeface="Calibri"/>
            </a:endParaRPr>
          </a:p>
          <a:p>
            <a:pPr marL="0" lvl="0" indent="0" algn="l" rtl="0">
              <a:spcBef>
                <a:spcPts val="0"/>
              </a:spcBef>
              <a:spcAft>
                <a:spcPts val="0"/>
              </a:spcAft>
              <a:buNone/>
            </a:pPr>
            <a:endParaRPr/>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4</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10"/>
          </p:nvPr>
        </p:nvSpPr>
        <p:spPr/>
        <p:txBody>
          <a:bodyPr/>
          <a:lstStyle/>
          <a:p>
            <a:pPr defTabSz="931774">
              <a:defRPr/>
            </a:pPr>
            <a:fld id="{B1A400F9-CF10-4F94-84BB-F76AD0810D3E}"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145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a:ea typeface="Calibri"/>
              <a:cs typeface="Calibri"/>
            </a:endParaRPr>
          </a:p>
          <a:p>
            <a:r>
              <a:rPr lang="en-US"/>
              <a:t>Stakeholders</a:t>
            </a:r>
          </a:p>
          <a:p>
            <a:r>
              <a:rPr lang="en-US"/>
              <a:t>ILPQC Leadership Committee</a:t>
            </a:r>
            <a:endParaRPr lang="en-US">
              <a:cs typeface="Calibri"/>
            </a:endParaRPr>
          </a:p>
          <a:p>
            <a:r>
              <a:rPr lang="en-US"/>
              <a:t>Advisors: Regional Perinatal System, Patient and Families, Legislators, MMRC</a:t>
            </a:r>
            <a:endParaRPr lang="en-US">
              <a:cs typeface="Calibri"/>
            </a:endParaRPr>
          </a:p>
          <a:p>
            <a:r>
              <a:rPr lang="en-US"/>
              <a:t>OB and Neonatal Advisory workgroups connecting with ILPQC Central</a:t>
            </a:r>
            <a:endParaRPr lang="en-US">
              <a:cs typeface="Calibri"/>
            </a:endParaRPr>
          </a:p>
          <a:p>
            <a:r>
              <a:rPr lang="en-US"/>
              <a:t>OB and Neonatal Community Advisory Boards</a:t>
            </a:r>
            <a:endParaRPr lang="en-US">
              <a:cs typeface="Calibri"/>
            </a:endParaRPr>
          </a:p>
          <a:p>
            <a:r>
              <a:rPr lang="en-US"/>
              <a:t>OB and Neo Hospital Teams </a:t>
            </a:r>
            <a:endParaRPr lang="en-US">
              <a:cs typeface="Calibri"/>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019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ALANA</a:t>
            </a:r>
          </a:p>
        </p:txBody>
      </p:sp>
      <p:sp>
        <p:nvSpPr>
          <p:cNvPr id="4" name="Slide Number Placeholder 3"/>
          <p:cNvSpPr>
            <a:spLocks noGrp="1"/>
          </p:cNvSpPr>
          <p:nvPr>
            <p:ph type="sldNum" sz="quarter" idx="5"/>
          </p:nvPr>
        </p:nvSpPr>
        <p:spPr/>
        <p:txBody>
          <a:bodyPr/>
          <a:lstStyle/>
          <a:p>
            <a:fld id="{D0B1C258-122C-4775-B207-3DE2D949F414}" type="slidenum">
              <a:rPr lang="en-US" smtClean="0"/>
              <a:t>8</a:t>
            </a:fld>
            <a:endParaRPr lang="en-US"/>
          </a:p>
        </p:txBody>
      </p:sp>
    </p:spTree>
    <p:extLst>
      <p:ext uri="{BB962C8B-B14F-4D97-AF65-F5344CB8AC3E}">
        <p14:creationId xmlns:p14="http://schemas.microsoft.com/office/powerpoint/2010/main" val="561711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a:p>
            <a:endParaRPr lang="en-US"/>
          </a:p>
          <a:p>
            <a:endParaRPr lang="en-US"/>
          </a:p>
          <a:p>
            <a:endParaRPr lang="en-US"/>
          </a:p>
          <a:p>
            <a:r>
              <a:rPr lang="en-US"/>
              <a:t>ILPQC pillars and IHI QI Science </a:t>
            </a:r>
            <a:endParaRPr lang="en-US">
              <a:cs typeface="Calibri" panose="020F0502020204030204"/>
            </a:endParaRPr>
          </a:p>
          <a:p>
            <a:pPr defTabSz="984978">
              <a:defRPr/>
            </a:pPr>
            <a:r>
              <a:rPr lang="en-US"/>
              <a:t>Evidence-based QI </a:t>
            </a:r>
            <a:endParaRPr lang="en-US">
              <a:cs typeface="Calibri"/>
            </a:endParaRPr>
          </a:p>
          <a:p>
            <a:pPr defTabSz="984978">
              <a:defRPr/>
            </a:pPr>
            <a:r>
              <a:rPr lang="en-US"/>
              <a:t>PQCs</a:t>
            </a:r>
            <a:endParaRPr lang="en-US">
              <a:cs typeface="Calibri"/>
            </a:endParaRPr>
          </a:p>
          <a:p>
            <a:pPr defTabSz="984978">
              <a:defRPr/>
            </a:pPr>
            <a:r>
              <a:rPr lang="en-US"/>
              <a:t>Model of Improvement on slide</a:t>
            </a:r>
            <a:endParaRPr lang="en-US">
              <a:cs typeface="Calibri"/>
            </a:endParaRPr>
          </a:p>
          <a:p>
            <a:endParaRPr lang="en-US"/>
          </a:p>
        </p:txBody>
      </p:sp>
      <p:sp>
        <p:nvSpPr>
          <p:cNvPr id="4" name="Slide Number Placeholder 3"/>
          <p:cNvSpPr>
            <a:spLocks noGrp="1"/>
          </p:cNvSpPr>
          <p:nvPr>
            <p:ph type="sldNum" sz="quarter" idx="10"/>
          </p:nvPr>
        </p:nvSpPr>
        <p:spPr/>
        <p:txBody>
          <a:bodyPr/>
          <a:lstStyle/>
          <a:p>
            <a:fld id="{DF0BAE01-1909-42FA-8A9A-F40C71256137}" type="slidenum">
              <a:rPr lang="en-US" smtClean="0"/>
              <a:t>9</a:t>
            </a:fld>
            <a:endParaRPr lang="en-US"/>
          </a:p>
        </p:txBody>
      </p:sp>
    </p:spTree>
    <p:extLst>
      <p:ext uri="{BB962C8B-B14F-4D97-AF65-F5344CB8AC3E}">
        <p14:creationId xmlns:p14="http://schemas.microsoft.com/office/powerpoint/2010/main" val="16963505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emember DON’T overthink it start small</a:t>
            </a:r>
          </a:p>
        </p:txBody>
      </p:sp>
      <p:sp>
        <p:nvSpPr>
          <p:cNvPr id="4" name="Slide Number Placeholder 3"/>
          <p:cNvSpPr>
            <a:spLocks noGrp="1"/>
          </p:cNvSpPr>
          <p:nvPr>
            <p:ph type="sldNum" sz="quarter" idx="5"/>
          </p:nvPr>
        </p:nvSpPr>
        <p:spPr/>
        <p:txBody>
          <a:bodyPr/>
          <a:lstStyle/>
          <a:p>
            <a:fld id="{1EBD1989-80A6-4526-B6CA-3DFDBBCC42D0}" type="slidenum">
              <a:rPr lang="en-US"/>
              <a:t>14</a:t>
            </a:fld>
            <a:endParaRPr lang="en-US"/>
          </a:p>
        </p:txBody>
      </p:sp>
    </p:spTree>
    <p:extLst>
      <p:ext uri="{BB962C8B-B14F-4D97-AF65-F5344CB8AC3E}">
        <p14:creationId xmlns:p14="http://schemas.microsoft.com/office/powerpoint/2010/main" val="7415289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1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8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21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3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3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40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41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1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4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2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43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43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44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4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45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4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45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4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5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5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45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6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46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6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7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7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8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4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8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8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90.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9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49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9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0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0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0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1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5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51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1514.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51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516.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51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51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151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52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52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152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52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52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5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5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15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5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53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5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53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53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5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5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5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5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5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155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15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56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5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56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7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5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8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4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4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5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157227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501078440"/>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68827643"/>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preserve="1" userDrawn="1">
  <p:cSld name="2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94162278"/>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86060377"/>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2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88396179"/>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3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4522154"/>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twoObj" preserve="1">
  <p:cSld name="2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645742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twoTxTwoObj" preserve="1">
  <p:cSld name="2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25904584"/>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2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03562607"/>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itleOnly" preserve="1">
  <p:cSld name="2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966948"/>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4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45708624"/>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8570082"/>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29656584"/>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34997953"/>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52592699"/>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obj" preserve="1">
  <p:cSld name="4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9504743"/>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6776171"/>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5943008"/>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5241497"/>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6403604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7256080"/>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185085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p:cSld name="5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44253178"/>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69588142"/>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783045463"/>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4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64324874"/>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preserve="1" userDrawn="1">
  <p:cSld name="4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63531789"/>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userDrawn="1">
  <p:cSld name="4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63791230"/>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type="blank" preserve="1">
  <p:cSld name="4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2566672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02931972"/>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obj" preserve="1">
  <p:cSld name="6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0746712"/>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twoObj" preserve="1">
  <p:cSld name="4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2597929"/>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type="twoTxTwoObj" preserve="1">
  <p:cSld name="4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42091233"/>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type="titleOnly" preserve="1">
  <p:cSld name="4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11113065"/>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4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59846461"/>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type="blank" preserve="1">
  <p:cSld name="4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5553691"/>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29198981"/>
      </p:ext>
    </p:extLst>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userDrawn="1">
  <p:cSld name="73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110439"/>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90579671"/>
      </p:ext>
    </p:extLst>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582738"/>
      </p:ext>
    </p:extLst>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587918"/>
      </p:ext>
    </p:extLst>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09084614"/>
      </p:ext>
    </p:extLst>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42211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373680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7063077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2325930"/>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729815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2479938"/>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6296709"/>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55432313"/>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9056666"/>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1967696"/>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446465"/>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910798543"/>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8675539"/>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12/7/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12/7/2023</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42248109"/>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2824906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1565514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44353" t="41308" r="41308" b="44537"/>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7/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226780"/>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17705470"/>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58830055"/>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30752121"/>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73632738"/>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1440932"/>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321769"/>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12352784"/>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177459683"/>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671" Type="http://schemas.openxmlformats.org/officeDocument/2006/relationships/slideLayout" Target="../slideLayouts/slideLayout671.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682" Type="http://schemas.openxmlformats.org/officeDocument/2006/relationships/theme" Target="../theme/theme1.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642" Type="http://schemas.openxmlformats.org/officeDocument/2006/relationships/slideLayout" Target="../slideLayouts/slideLayout642.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653" Type="http://schemas.openxmlformats.org/officeDocument/2006/relationships/slideLayout" Target="../slideLayouts/slideLayout653.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664" Type="http://schemas.openxmlformats.org/officeDocument/2006/relationships/slideLayout" Target="../slideLayouts/slideLayout664.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675" Type="http://schemas.openxmlformats.org/officeDocument/2006/relationships/slideLayout" Target="../slideLayouts/slideLayout675.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112" Type="http://schemas.openxmlformats.org/officeDocument/2006/relationships/slideLayout" Target="../slideLayouts/slideLayout112.xml"/><Relationship Id="rId557" Type="http://schemas.openxmlformats.org/officeDocument/2006/relationships/slideLayout" Target="../slideLayouts/slideLayout557.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624" Type="http://schemas.openxmlformats.org/officeDocument/2006/relationships/slideLayout" Target="../slideLayouts/slideLayout624.xml"/><Relationship Id="rId263" Type="http://schemas.openxmlformats.org/officeDocument/2006/relationships/slideLayout" Target="../slideLayouts/slideLayout263.xml"/><Relationship Id="rId470" Type="http://schemas.openxmlformats.org/officeDocument/2006/relationships/slideLayout" Target="../slideLayouts/slideLayout470.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79" Type="http://schemas.openxmlformats.org/officeDocument/2006/relationships/slideLayout" Target="../slideLayouts/slideLayout579.xml"/><Relationship Id="rId341" Type="http://schemas.openxmlformats.org/officeDocument/2006/relationships/slideLayout" Target="../slideLayouts/slideLayout341.xml"/><Relationship Id="rId439" Type="http://schemas.openxmlformats.org/officeDocument/2006/relationships/slideLayout" Target="../slideLayouts/slideLayout439.xml"/><Relationship Id="rId646" Type="http://schemas.openxmlformats.org/officeDocument/2006/relationships/slideLayout" Target="../slideLayouts/slideLayout646.xml"/><Relationship Id="rId201" Type="http://schemas.openxmlformats.org/officeDocument/2006/relationships/slideLayout" Target="../slideLayouts/slideLayout201.xml"/><Relationship Id="rId285" Type="http://schemas.openxmlformats.org/officeDocument/2006/relationships/slideLayout" Target="../slideLayouts/slideLayout285.xml"/><Relationship Id="rId506" Type="http://schemas.openxmlformats.org/officeDocument/2006/relationships/slideLayout" Target="../slideLayouts/slideLayout506.xml"/><Relationship Id="rId492" Type="http://schemas.openxmlformats.org/officeDocument/2006/relationships/slideLayout" Target="../slideLayouts/slideLayout492.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657" Type="http://schemas.openxmlformats.org/officeDocument/2006/relationships/slideLayout" Target="../slideLayouts/slideLayout657.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668" Type="http://schemas.openxmlformats.org/officeDocument/2006/relationships/slideLayout" Target="../slideLayouts/slideLayout668.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679" Type="http://schemas.openxmlformats.org/officeDocument/2006/relationships/slideLayout" Target="../slideLayouts/slideLayout67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648" Type="http://schemas.openxmlformats.org/officeDocument/2006/relationships/slideLayout" Target="../slideLayouts/slideLayout648.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659" Type="http://schemas.openxmlformats.org/officeDocument/2006/relationships/slideLayout" Target="../slideLayouts/slideLayout659.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670" Type="http://schemas.openxmlformats.org/officeDocument/2006/relationships/slideLayout" Target="../slideLayouts/slideLayout670.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681" Type="http://schemas.openxmlformats.org/officeDocument/2006/relationships/slideLayout" Target="../slideLayouts/slideLayout681.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650" Type="http://schemas.openxmlformats.org/officeDocument/2006/relationships/slideLayout" Target="../slideLayouts/slideLayout650.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661" Type="http://schemas.openxmlformats.org/officeDocument/2006/relationships/slideLayout" Target="../slideLayouts/slideLayout661.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672" Type="http://schemas.openxmlformats.org/officeDocument/2006/relationships/slideLayout" Target="../slideLayouts/slideLayout672.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641" Type="http://schemas.openxmlformats.org/officeDocument/2006/relationships/slideLayout" Target="../slideLayouts/slideLayout641.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652" Type="http://schemas.openxmlformats.org/officeDocument/2006/relationships/slideLayout" Target="../slideLayouts/slideLayout652.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663" Type="http://schemas.openxmlformats.org/officeDocument/2006/relationships/slideLayout" Target="../slideLayouts/slideLayout663.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674" Type="http://schemas.openxmlformats.org/officeDocument/2006/relationships/slideLayout" Target="../slideLayouts/slideLayout674.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643" Type="http://schemas.openxmlformats.org/officeDocument/2006/relationships/slideLayout" Target="../slideLayouts/slideLayout643.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654" Type="http://schemas.openxmlformats.org/officeDocument/2006/relationships/slideLayout" Target="../slideLayouts/slideLayout654.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665" Type="http://schemas.openxmlformats.org/officeDocument/2006/relationships/slideLayout" Target="../slideLayouts/slideLayout665.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676" Type="http://schemas.openxmlformats.org/officeDocument/2006/relationships/slideLayout" Target="../slideLayouts/slideLayout676.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645" Type="http://schemas.openxmlformats.org/officeDocument/2006/relationships/slideLayout" Target="../slideLayouts/slideLayout645.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656" Type="http://schemas.openxmlformats.org/officeDocument/2006/relationships/slideLayout" Target="../slideLayouts/slideLayout656.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667" Type="http://schemas.openxmlformats.org/officeDocument/2006/relationships/slideLayout" Target="../slideLayouts/slideLayout667.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678" Type="http://schemas.openxmlformats.org/officeDocument/2006/relationships/slideLayout" Target="../slideLayouts/slideLayout678.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647" Type="http://schemas.openxmlformats.org/officeDocument/2006/relationships/slideLayout" Target="../slideLayouts/slideLayout647.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658" Type="http://schemas.openxmlformats.org/officeDocument/2006/relationships/slideLayout" Target="../slideLayouts/slideLayout658.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669" Type="http://schemas.openxmlformats.org/officeDocument/2006/relationships/slideLayout" Target="../slideLayouts/slideLayout66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680" Type="http://schemas.openxmlformats.org/officeDocument/2006/relationships/slideLayout" Target="../slideLayouts/slideLayout680.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649" Type="http://schemas.openxmlformats.org/officeDocument/2006/relationships/slideLayout" Target="../slideLayouts/slideLayout64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660" Type="http://schemas.openxmlformats.org/officeDocument/2006/relationships/slideLayout" Target="../slideLayouts/slideLayout660.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slideLayout" Target="../slideLayouts/slideLayout640.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651" Type="http://schemas.openxmlformats.org/officeDocument/2006/relationships/slideLayout" Target="../slideLayouts/slideLayout651.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662" Type="http://schemas.openxmlformats.org/officeDocument/2006/relationships/slideLayout" Target="../slideLayouts/slideLayout662.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673" Type="http://schemas.openxmlformats.org/officeDocument/2006/relationships/slideLayout" Target="../slideLayouts/slideLayout673.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644" Type="http://schemas.openxmlformats.org/officeDocument/2006/relationships/slideLayout" Target="../slideLayouts/slideLayout644.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 Id="rId655" Type="http://schemas.openxmlformats.org/officeDocument/2006/relationships/slideLayout" Target="../slideLayouts/slideLayout655.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89" Type="http://schemas.openxmlformats.org/officeDocument/2006/relationships/slideLayout" Target="../slideLayouts/slideLayout89.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99" Type="http://schemas.openxmlformats.org/officeDocument/2006/relationships/slideLayout" Target="../slideLayouts/slideLayout599.xml"/><Relationship Id="rId459" Type="http://schemas.openxmlformats.org/officeDocument/2006/relationships/slideLayout" Target="../slideLayouts/slideLayout459.xml"/><Relationship Id="rId666" Type="http://schemas.openxmlformats.org/officeDocument/2006/relationships/slideLayout" Target="../slideLayouts/slideLayout666.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319" Type="http://schemas.openxmlformats.org/officeDocument/2006/relationships/slideLayout" Target="../slideLayouts/slideLayout319.xml"/><Relationship Id="rId526" Type="http://schemas.openxmlformats.org/officeDocument/2006/relationships/slideLayout" Target="../slideLayouts/slideLayout526.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677" Type="http://schemas.openxmlformats.org/officeDocument/2006/relationships/slideLayout" Target="../slideLayouts/slideLayout677.xml"/><Relationship Id="rId232" Type="http://schemas.openxmlformats.org/officeDocument/2006/relationships/slideLayout" Target="../slideLayouts/slideLayout232.xml"/><Relationship Id="rId27" Type="http://schemas.openxmlformats.org/officeDocument/2006/relationships/slideLayout" Target="../slideLayouts/slideLayout27.xml"/><Relationship Id="rId537" Type="http://schemas.openxmlformats.org/officeDocument/2006/relationships/slideLayout" Target="../slideLayouts/slideLayout537.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83" Type="http://schemas.openxmlformats.org/officeDocument/2006/relationships/slideLayout" Target="../slideLayouts/slideLayout383.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43" Type="http://schemas.openxmlformats.org/officeDocument/2006/relationships/slideLayout" Target="../slideLayouts/slideLayout243.xml"/><Relationship Id="rId450" Type="http://schemas.openxmlformats.org/officeDocument/2006/relationships/slideLayout" Target="../slideLayouts/slideLayout450.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548" Type="http://schemas.openxmlformats.org/officeDocument/2006/relationships/slideLayout" Target="../slideLayouts/slideLayout5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89.xml"/><Relationship Id="rId3" Type="http://schemas.openxmlformats.org/officeDocument/2006/relationships/slideLayout" Target="../slideLayouts/slideLayout684.xml"/><Relationship Id="rId7" Type="http://schemas.openxmlformats.org/officeDocument/2006/relationships/slideLayout" Target="../slideLayouts/slideLayout688.xml"/><Relationship Id="rId12" Type="http://schemas.openxmlformats.org/officeDocument/2006/relationships/theme" Target="../theme/theme2.xml"/><Relationship Id="rId2" Type="http://schemas.openxmlformats.org/officeDocument/2006/relationships/slideLayout" Target="../slideLayouts/slideLayout683.xml"/><Relationship Id="rId1" Type="http://schemas.openxmlformats.org/officeDocument/2006/relationships/slideLayout" Target="../slideLayouts/slideLayout682.xml"/><Relationship Id="rId6" Type="http://schemas.openxmlformats.org/officeDocument/2006/relationships/slideLayout" Target="../slideLayouts/slideLayout687.xml"/><Relationship Id="rId11" Type="http://schemas.openxmlformats.org/officeDocument/2006/relationships/slideLayout" Target="../slideLayouts/slideLayout692.xml"/><Relationship Id="rId5" Type="http://schemas.openxmlformats.org/officeDocument/2006/relationships/slideLayout" Target="../slideLayouts/slideLayout686.xml"/><Relationship Id="rId10" Type="http://schemas.openxmlformats.org/officeDocument/2006/relationships/slideLayout" Target="../slideLayouts/slideLayout691.xml"/><Relationship Id="rId4" Type="http://schemas.openxmlformats.org/officeDocument/2006/relationships/slideLayout" Target="../slideLayouts/slideLayout685.xml"/><Relationship Id="rId9" Type="http://schemas.openxmlformats.org/officeDocument/2006/relationships/slideLayout" Target="../slideLayouts/slideLayout690.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809.xml"/><Relationship Id="rId21" Type="http://schemas.openxmlformats.org/officeDocument/2006/relationships/slideLayout" Target="../slideLayouts/slideLayout713.xml"/><Relationship Id="rId42" Type="http://schemas.openxmlformats.org/officeDocument/2006/relationships/slideLayout" Target="../slideLayouts/slideLayout734.xml"/><Relationship Id="rId63" Type="http://schemas.openxmlformats.org/officeDocument/2006/relationships/slideLayout" Target="../slideLayouts/slideLayout755.xml"/><Relationship Id="rId84" Type="http://schemas.openxmlformats.org/officeDocument/2006/relationships/slideLayout" Target="../slideLayouts/slideLayout776.xml"/><Relationship Id="rId138" Type="http://schemas.openxmlformats.org/officeDocument/2006/relationships/slideLayout" Target="../slideLayouts/slideLayout830.xml"/><Relationship Id="rId159" Type="http://schemas.openxmlformats.org/officeDocument/2006/relationships/slideLayout" Target="../slideLayouts/slideLayout851.xml"/><Relationship Id="rId170" Type="http://schemas.openxmlformats.org/officeDocument/2006/relationships/slideLayout" Target="../slideLayouts/slideLayout862.xml"/><Relationship Id="rId191" Type="http://schemas.openxmlformats.org/officeDocument/2006/relationships/slideLayout" Target="../slideLayouts/slideLayout883.xml"/><Relationship Id="rId107" Type="http://schemas.openxmlformats.org/officeDocument/2006/relationships/slideLayout" Target="../slideLayouts/slideLayout799.xml"/><Relationship Id="rId11" Type="http://schemas.openxmlformats.org/officeDocument/2006/relationships/slideLayout" Target="../slideLayouts/slideLayout703.xml"/><Relationship Id="rId32" Type="http://schemas.openxmlformats.org/officeDocument/2006/relationships/slideLayout" Target="../slideLayouts/slideLayout724.xml"/><Relationship Id="rId53" Type="http://schemas.openxmlformats.org/officeDocument/2006/relationships/slideLayout" Target="../slideLayouts/slideLayout745.xml"/><Relationship Id="rId74" Type="http://schemas.openxmlformats.org/officeDocument/2006/relationships/slideLayout" Target="../slideLayouts/slideLayout766.xml"/><Relationship Id="rId128" Type="http://schemas.openxmlformats.org/officeDocument/2006/relationships/slideLayout" Target="../slideLayouts/slideLayout820.xml"/><Relationship Id="rId149" Type="http://schemas.openxmlformats.org/officeDocument/2006/relationships/slideLayout" Target="../slideLayouts/slideLayout841.xml"/><Relationship Id="rId5" Type="http://schemas.openxmlformats.org/officeDocument/2006/relationships/slideLayout" Target="../slideLayouts/slideLayout697.xml"/><Relationship Id="rId95" Type="http://schemas.openxmlformats.org/officeDocument/2006/relationships/slideLayout" Target="../slideLayouts/slideLayout787.xml"/><Relationship Id="rId160" Type="http://schemas.openxmlformats.org/officeDocument/2006/relationships/slideLayout" Target="../slideLayouts/slideLayout852.xml"/><Relationship Id="rId181" Type="http://schemas.openxmlformats.org/officeDocument/2006/relationships/slideLayout" Target="../slideLayouts/slideLayout873.xml"/><Relationship Id="rId22" Type="http://schemas.openxmlformats.org/officeDocument/2006/relationships/slideLayout" Target="../slideLayouts/slideLayout714.xml"/><Relationship Id="rId43" Type="http://schemas.openxmlformats.org/officeDocument/2006/relationships/slideLayout" Target="../slideLayouts/slideLayout735.xml"/><Relationship Id="rId64" Type="http://schemas.openxmlformats.org/officeDocument/2006/relationships/slideLayout" Target="../slideLayouts/slideLayout756.xml"/><Relationship Id="rId118" Type="http://schemas.openxmlformats.org/officeDocument/2006/relationships/slideLayout" Target="../slideLayouts/slideLayout810.xml"/><Relationship Id="rId139" Type="http://schemas.openxmlformats.org/officeDocument/2006/relationships/slideLayout" Target="../slideLayouts/slideLayout831.xml"/><Relationship Id="rId85" Type="http://schemas.openxmlformats.org/officeDocument/2006/relationships/slideLayout" Target="../slideLayouts/slideLayout777.xml"/><Relationship Id="rId150" Type="http://schemas.openxmlformats.org/officeDocument/2006/relationships/slideLayout" Target="../slideLayouts/slideLayout842.xml"/><Relationship Id="rId171" Type="http://schemas.openxmlformats.org/officeDocument/2006/relationships/slideLayout" Target="../slideLayouts/slideLayout863.xml"/><Relationship Id="rId192" Type="http://schemas.openxmlformats.org/officeDocument/2006/relationships/slideLayout" Target="../slideLayouts/slideLayout884.xml"/><Relationship Id="rId12" Type="http://schemas.openxmlformats.org/officeDocument/2006/relationships/slideLayout" Target="../slideLayouts/slideLayout704.xml"/><Relationship Id="rId33" Type="http://schemas.openxmlformats.org/officeDocument/2006/relationships/slideLayout" Target="../slideLayouts/slideLayout725.xml"/><Relationship Id="rId108" Type="http://schemas.openxmlformats.org/officeDocument/2006/relationships/slideLayout" Target="../slideLayouts/slideLayout800.xml"/><Relationship Id="rId129" Type="http://schemas.openxmlformats.org/officeDocument/2006/relationships/slideLayout" Target="../slideLayouts/slideLayout821.xml"/><Relationship Id="rId54" Type="http://schemas.openxmlformats.org/officeDocument/2006/relationships/slideLayout" Target="../slideLayouts/slideLayout746.xml"/><Relationship Id="rId75" Type="http://schemas.openxmlformats.org/officeDocument/2006/relationships/slideLayout" Target="../slideLayouts/slideLayout767.xml"/><Relationship Id="rId96" Type="http://schemas.openxmlformats.org/officeDocument/2006/relationships/slideLayout" Target="../slideLayouts/slideLayout788.xml"/><Relationship Id="rId140" Type="http://schemas.openxmlformats.org/officeDocument/2006/relationships/slideLayout" Target="../slideLayouts/slideLayout832.xml"/><Relationship Id="rId161" Type="http://schemas.openxmlformats.org/officeDocument/2006/relationships/slideLayout" Target="../slideLayouts/slideLayout853.xml"/><Relationship Id="rId182" Type="http://schemas.openxmlformats.org/officeDocument/2006/relationships/slideLayout" Target="../slideLayouts/slideLayout874.xml"/><Relationship Id="rId6" Type="http://schemas.openxmlformats.org/officeDocument/2006/relationships/slideLayout" Target="../slideLayouts/slideLayout698.xml"/><Relationship Id="rId23" Type="http://schemas.openxmlformats.org/officeDocument/2006/relationships/slideLayout" Target="../slideLayouts/slideLayout715.xml"/><Relationship Id="rId119" Type="http://schemas.openxmlformats.org/officeDocument/2006/relationships/slideLayout" Target="../slideLayouts/slideLayout811.xml"/><Relationship Id="rId44" Type="http://schemas.openxmlformats.org/officeDocument/2006/relationships/slideLayout" Target="../slideLayouts/slideLayout736.xml"/><Relationship Id="rId65" Type="http://schemas.openxmlformats.org/officeDocument/2006/relationships/slideLayout" Target="../slideLayouts/slideLayout757.xml"/><Relationship Id="rId86" Type="http://schemas.openxmlformats.org/officeDocument/2006/relationships/slideLayout" Target="../slideLayouts/slideLayout778.xml"/><Relationship Id="rId130" Type="http://schemas.openxmlformats.org/officeDocument/2006/relationships/slideLayout" Target="../slideLayouts/slideLayout822.xml"/><Relationship Id="rId151" Type="http://schemas.openxmlformats.org/officeDocument/2006/relationships/slideLayout" Target="../slideLayouts/slideLayout843.xml"/><Relationship Id="rId172" Type="http://schemas.openxmlformats.org/officeDocument/2006/relationships/slideLayout" Target="../slideLayouts/slideLayout864.xml"/><Relationship Id="rId193" Type="http://schemas.openxmlformats.org/officeDocument/2006/relationships/slideLayout" Target="../slideLayouts/slideLayout885.xml"/><Relationship Id="rId13" Type="http://schemas.openxmlformats.org/officeDocument/2006/relationships/slideLayout" Target="../slideLayouts/slideLayout705.xml"/><Relationship Id="rId109" Type="http://schemas.openxmlformats.org/officeDocument/2006/relationships/slideLayout" Target="../slideLayouts/slideLayout801.xml"/><Relationship Id="rId34" Type="http://schemas.openxmlformats.org/officeDocument/2006/relationships/slideLayout" Target="../slideLayouts/slideLayout726.xml"/><Relationship Id="rId55" Type="http://schemas.openxmlformats.org/officeDocument/2006/relationships/slideLayout" Target="../slideLayouts/slideLayout747.xml"/><Relationship Id="rId76" Type="http://schemas.openxmlformats.org/officeDocument/2006/relationships/slideLayout" Target="../slideLayouts/slideLayout768.xml"/><Relationship Id="rId97" Type="http://schemas.openxmlformats.org/officeDocument/2006/relationships/slideLayout" Target="../slideLayouts/slideLayout789.xml"/><Relationship Id="rId120" Type="http://schemas.openxmlformats.org/officeDocument/2006/relationships/slideLayout" Target="../slideLayouts/slideLayout812.xml"/><Relationship Id="rId141" Type="http://schemas.openxmlformats.org/officeDocument/2006/relationships/slideLayout" Target="../slideLayouts/slideLayout833.xml"/><Relationship Id="rId7" Type="http://schemas.openxmlformats.org/officeDocument/2006/relationships/slideLayout" Target="../slideLayouts/slideLayout699.xml"/><Relationship Id="rId71" Type="http://schemas.openxmlformats.org/officeDocument/2006/relationships/slideLayout" Target="../slideLayouts/slideLayout763.xml"/><Relationship Id="rId92" Type="http://schemas.openxmlformats.org/officeDocument/2006/relationships/slideLayout" Target="../slideLayouts/slideLayout784.xml"/><Relationship Id="rId162" Type="http://schemas.openxmlformats.org/officeDocument/2006/relationships/slideLayout" Target="../slideLayouts/slideLayout854.xml"/><Relationship Id="rId183" Type="http://schemas.openxmlformats.org/officeDocument/2006/relationships/slideLayout" Target="../slideLayouts/slideLayout875.xml"/><Relationship Id="rId2" Type="http://schemas.openxmlformats.org/officeDocument/2006/relationships/slideLayout" Target="../slideLayouts/slideLayout694.xml"/><Relationship Id="rId29" Type="http://schemas.openxmlformats.org/officeDocument/2006/relationships/slideLayout" Target="../slideLayouts/slideLayout721.xml"/><Relationship Id="rId24" Type="http://schemas.openxmlformats.org/officeDocument/2006/relationships/slideLayout" Target="../slideLayouts/slideLayout716.xml"/><Relationship Id="rId40" Type="http://schemas.openxmlformats.org/officeDocument/2006/relationships/slideLayout" Target="../slideLayouts/slideLayout732.xml"/><Relationship Id="rId45" Type="http://schemas.openxmlformats.org/officeDocument/2006/relationships/slideLayout" Target="../slideLayouts/slideLayout737.xml"/><Relationship Id="rId66" Type="http://schemas.openxmlformats.org/officeDocument/2006/relationships/slideLayout" Target="../slideLayouts/slideLayout758.xml"/><Relationship Id="rId87" Type="http://schemas.openxmlformats.org/officeDocument/2006/relationships/slideLayout" Target="../slideLayouts/slideLayout779.xml"/><Relationship Id="rId110" Type="http://schemas.openxmlformats.org/officeDocument/2006/relationships/slideLayout" Target="../slideLayouts/slideLayout802.xml"/><Relationship Id="rId115" Type="http://schemas.openxmlformats.org/officeDocument/2006/relationships/slideLayout" Target="../slideLayouts/slideLayout807.xml"/><Relationship Id="rId131" Type="http://schemas.openxmlformats.org/officeDocument/2006/relationships/slideLayout" Target="../slideLayouts/slideLayout823.xml"/><Relationship Id="rId136" Type="http://schemas.openxmlformats.org/officeDocument/2006/relationships/slideLayout" Target="../slideLayouts/slideLayout828.xml"/><Relationship Id="rId157" Type="http://schemas.openxmlformats.org/officeDocument/2006/relationships/slideLayout" Target="../slideLayouts/slideLayout849.xml"/><Relationship Id="rId178" Type="http://schemas.openxmlformats.org/officeDocument/2006/relationships/slideLayout" Target="../slideLayouts/slideLayout870.xml"/><Relationship Id="rId61" Type="http://schemas.openxmlformats.org/officeDocument/2006/relationships/slideLayout" Target="../slideLayouts/slideLayout753.xml"/><Relationship Id="rId82" Type="http://schemas.openxmlformats.org/officeDocument/2006/relationships/slideLayout" Target="../slideLayouts/slideLayout774.xml"/><Relationship Id="rId152" Type="http://schemas.openxmlformats.org/officeDocument/2006/relationships/slideLayout" Target="../slideLayouts/slideLayout844.xml"/><Relationship Id="rId173" Type="http://schemas.openxmlformats.org/officeDocument/2006/relationships/slideLayout" Target="../slideLayouts/slideLayout865.xml"/><Relationship Id="rId194" Type="http://schemas.openxmlformats.org/officeDocument/2006/relationships/slideLayout" Target="../slideLayouts/slideLayout886.xml"/><Relationship Id="rId199" Type="http://schemas.openxmlformats.org/officeDocument/2006/relationships/theme" Target="../theme/theme3.xml"/><Relationship Id="rId19" Type="http://schemas.openxmlformats.org/officeDocument/2006/relationships/slideLayout" Target="../slideLayouts/slideLayout711.xml"/><Relationship Id="rId14" Type="http://schemas.openxmlformats.org/officeDocument/2006/relationships/slideLayout" Target="../slideLayouts/slideLayout706.xml"/><Relationship Id="rId30" Type="http://schemas.openxmlformats.org/officeDocument/2006/relationships/slideLayout" Target="../slideLayouts/slideLayout722.xml"/><Relationship Id="rId35" Type="http://schemas.openxmlformats.org/officeDocument/2006/relationships/slideLayout" Target="../slideLayouts/slideLayout727.xml"/><Relationship Id="rId56" Type="http://schemas.openxmlformats.org/officeDocument/2006/relationships/slideLayout" Target="../slideLayouts/slideLayout748.xml"/><Relationship Id="rId77" Type="http://schemas.openxmlformats.org/officeDocument/2006/relationships/slideLayout" Target="../slideLayouts/slideLayout769.xml"/><Relationship Id="rId100" Type="http://schemas.openxmlformats.org/officeDocument/2006/relationships/slideLayout" Target="../slideLayouts/slideLayout792.xml"/><Relationship Id="rId105" Type="http://schemas.openxmlformats.org/officeDocument/2006/relationships/slideLayout" Target="../slideLayouts/slideLayout797.xml"/><Relationship Id="rId126" Type="http://schemas.openxmlformats.org/officeDocument/2006/relationships/slideLayout" Target="../slideLayouts/slideLayout818.xml"/><Relationship Id="rId147" Type="http://schemas.openxmlformats.org/officeDocument/2006/relationships/slideLayout" Target="../slideLayouts/slideLayout839.xml"/><Relationship Id="rId168" Type="http://schemas.openxmlformats.org/officeDocument/2006/relationships/slideLayout" Target="../slideLayouts/slideLayout860.xml"/><Relationship Id="rId8" Type="http://schemas.openxmlformats.org/officeDocument/2006/relationships/slideLayout" Target="../slideLayouts/slideLayout700.xml"/><Relationship Id="rId51" Type="http://schemas.openxmlformats.org/officeDocument/2006/relationships/slideLayout" Target="../slideLayouts/slideLayout743.xml"/><Relationship Id="rId72" Type="http://schemas.openxmlformats.org/officeDocument/2006/relationships/slideLayout" Target="../slideLayouts/slideLayout764.xml"/><Relationship Id="rId93" Type="http://schemas.openxmlformats.org/officeDocument/2006/relationships/slideLayout" Target="../slideLayouts/slideLayout785.xml"/><Relationship Id="rId98" Type="http://schemas.openxmlformats.org/officeDocument/2006/relationships/slideLayout" Target="../slideLayouts/slideLayout790.xml"/><Relationship Id="rId121" Type="http://schemas.openxmlformats.org/officeDocument/2006/relationships/slideLayout" Target="../slideLayouts/slideLayout813.xml"/><Relationship Id="rId142" Type="http://schemas.openxmlformats.org/officeDocument/2006/relationships/slideLayout" Target="../slideLayouts/slideLayout834.xml"/><Relationship Id="rId163" Type="http://schemas.openxmlformats.org/officeDocument/2006/relationships/slideLayout" Target="../slideLayouts/slideLayout855.xml"/><Relationship Id="rId184" Type="http://schemas.openxmlformats.org/officeDocument/2006/relationships/slideLayout" Target="../slideLayouts/slideLayout876.xml"/><Relationship Id="rId189" Type="http://schemas.openxmlformats.org/officeDocument/2006/relationships/slideLayout" Target="../slideLayouts/slideLayout881.xml"/><Relationship Id="rId3" Type="http://schemas.openxmlformats.org/officeDocument/2006/relationships/slideLayout" Target="../slideLayouts/slideLayout695.xml"/><Relationship Id="rId25" Type="http://schemas.openxmlformats.org/officeDocument/2006/relationships/slideLayout" Target="../slideLayouts/slideLayout717.xml"/><Relationship Id="rId46" Type="http://schemas.openxmlformats.org/officeDocument/2006/relationships/slideLayout" Target="../slideLayouts/slideLayout738.xml"/><Relationship Id="rId67" Type="http://schemas.openxmlformats.org/officeDocument/2006/relationships/slideLayout" Target="../slideLayouts/slideLayout759.xml"/><Relationship Id="rId116" Type="http://schemas.openxmlformats.org/officeDocument/2006/relationships/slideLayout" Target="../slideLayouts/slideLayout808.xml"/><Relationship Id="rId137" Type="http://schemas.openxmlformats.org/officeDocument/2006/relationships/slideLayout" Target="../slideLayouts/slideLayout829.xml"/><Relationship Id="rId158" Type="http://schemas.openxmlformats.org/officeDocument/2006/relationships/slideLayout" Target="../slideLayouts/slideLayout850.xml"/><Relationship Id="rId20" Type="http://schemas.openxmlformats.org/officeDocument/2006/relationships/slideLayout" Target="../slideLayouts/slideLayout712.xml"/><Relationship Id="rId41" Type="http://schemas.openxmlformats.org/officeDocument/2006/relationships/slideLayout" Target="../slideLayouts/slideLayout733.xml"/><Relationship Id="rId62" Type="http://schemas.openxmlformats.org/officeDocument/2006/relationships/slideLayout" Target="../slideLayouts/slideLayout754.xml"/><Relationship Id="rId83" Type="http://schemas.openxmlformats.org/officeDocument/2006/relationships/slideLayout" Target="../slideLayouts/slideLayout775.xml"/><Relationship Id="rId88" Type="http://schemas.openxmlformats.org/officeDocument/2006/relationships/slideLayout" Target="../slideLayouts/slideLayout780.xml"/><Relationship Id="rId111" Type="http://schemas.openxmlformats.org/officeDocument/2006/relationships/slideLayout" Target="../slideLayouts/slideLayout803.xml"/><Relationship Id="rId132" Type="http://schemas.openxmlformats.org/officeDocument/2006/relationships/slideLayout" Target="../slideLayouts/slideLayout824.xml"/><Relationship Id="rId153" Type="http://schemas.openxmlformats.org/officeDocument/2006/relationships/slideLayout" Target="../slideLayouts/slideLayout845.xml"/><Relationship Id="rId174" Type="http://schemas.openxmlformats.org/officeDocument/2006/relationships/slideLayout" Target="../slideLayouts/slideLayout866.xml"/><Relationship Id="rId179" Type="http://schemas.openxmlformats.org/officeDocument/2006/relationships/slideLayout" Target="../slideLayouts/slideLayout871.xml"/><Relationship Id="rId195" Type="http://schemas.openxmlformats.org/officeDocument/2006/relationships/slideLayout" Target="../slideLayouts/slideLayout887.xml"/><Relationship Id="rId190" Type="http://schemas.openxmlformats.org/officeDocument/2006/relationships/slideLayout" Target="../slideLayouts/slideLayout882.xml"/><Relationship Id="rId15" Type="http://schemas.openxmlformats.org/officeDocument/2006/relationships/slideLayout" Target="../slideLayouts/slideLayout707.xml"/><Relationship Id="rId36" Type="http://schemas.openxmlformats.org/officeDocument/2006/relationships/slideLayout" Target="../slideLayouts/slideLayout728.xml"/><Relationship Id="rId57" Type="http://schemas.openxmlformats.org/officeDocument/2006/relationships/slideLayout" Target="../slideLayouts/slideLayout749.xml"/><Relationship Id="rId106" Type="http://schemas.openxmlformats.org/officeDocument/2006/relationships/slideLayout" Target="../slideLayouts/slideLayout798.xml"/><Relationship Id="rId127" Type="http://schemas.openxmlformats.org/officeDocument/2006/relationships/slideLayout" Target="../slideLayouts/slideLayout819.xml"/><Relationship Id="rId10" Type="http://schemas.openxmlformats.org/officeDocument/2006/relationships/slideLayout" Target="../slideLayouts/slideLayout702.xml"/><Relationship Id="rId31" Type="http://schemas.openxmlformats.org/officeDocument/2006/relationships/slideLayout" Target="../slideLayouts/slideLayout723.xml"/><Relationship Id="rId52" Type="http://schemas.openxmlformats.org/officeDocument/2006/relationships/slideLayout" Target="../slideLayouts/slideLayout744.xml"/><Relationship Id="rId73" Type="http://schemas.openxmlformats.org/officeDocument/2006/relationships/slideLayout" Target="../slideLayouts/slideLayout765.xml"/><Relationship Id="rId78" Type="http://schemas.openxmlformats.org/officeDocument/2006/relationships/slideLayout" Target="../slideLayouts/slideLayout770.xml"/><Relationship Id="rId94" Type="http://schemas.openxmlformats.org/officeDocument/2006/relationships/slideLayout" Target="../slideLayouts/slideLayout786.xml"/><Relationship Id="rId99" Type="http://schemas.openxmlformats.org/officeDocument/2006/relationships/slideLayout" Target="../slideLayouts/slideLayout791.xml"/><Relationship Id="rId101" Type="http://schemas.openxmlformats.org/officeDocument/2006/relationships/slideLayout" Target="../slideLayouts/slideLayout793.xml"/><Relationship Id="rId122" Type="http://schemas.openxmlformats.org/officeDocument/2006/relationships/slideLayout" Target="../slideLayouts/slideLayout814.xml"/><Relationship Id="rId143" Type="http://schemas.openxmlformats.org/officeDocument/2006/relationships/slideLayout" Target="../slideLayouts/slideLayout835.xml"/><Relationship Id="rId148" Type="http://schemas.openxmlformats.org/officeDocument/2006/relationships/slideLayout" Target="../slideLayouts/slideLayout840.xml"/><Relationship Id="rId164" Type="http://schemas.openxmlformats.org/officeDocument/2006/relationships/slideLayout" Target="../slideLayouts/slideLayout856.xml"/><Relationship Id="rId169" Type="http://schemas.openxmlformats.org/officeDocument/2006/relationships/slideLayout" Target="../slideLayouts/slideLayout861.xml"/><Relationship Id="rId185" Type="http://schemas.openxmlformats.org/officeDocument/2006/relationships/slideLayout" Target="../slideLayouts/slideLayout877.xml"/><Relationship Id="rId4" Type="http://schemas.openxmlformats.org/officeDocument/2006/relationships/slideLayout" Target="../slideLayouts/slideLayout696.xml"/><Relationship Id="rId9" Type="http://schemas.openxmlformats.org/officeDocument/2006/relationships/slideLayout" Target="../slideLayouts/slideLayout701.xml"/><Relationship Id="rId180" Type="http://schemas.openxmlformats.org/officeDocument/2006/relationships/slideLayout" Target="../slideLayouts/slideLayout872.xml"/><Relationship Id="rId26" Type="http://schemas.openxmlformats.org/officeDocument/2006/relationships/slideLayout" Target="../slideLayouts/slideLayout718.xml"/><Relationship Id="rId47" Type="http://schemas.openxmlformats.org/officeDocument/2006/relationships/slideLayout" Target="../slideLayouts/slideLayout739.xml"/><Relationship Id="rId68" Type="http://schemas.openxmlformats.org/officeDocument/2006/relationships/slideLayout" Target="../slideLayouts/slideLayout760.xml"/><Relationship Id="rId89" Type="http://schemas.openxmlformats.org/officeDocument/2006/relationships/slideLayout" Target="../slideLayouts/slideLayout781.xml"/><Relationship Id="rId112" Type="http://schemas.openxmlformats.org/officeDocument/2006/relationships/slideLayout" Target="../slideLayouts/slideLayout804.xml"/><Relationship Id="rId133" Type="http://schemas.openxmlformats.org/officeDocument/2006/relationships/slideLayout" Target="../slideLayouts/slideLayout825.xml"/><Relationship Id="rId154" Type="http://schemas.openxmlformats.org/officeDocument/2006/relationships/slideLayout" Target="../slideLayouts/slideLayout846.xml"/><Relationship Id="rId175" Type="http://schemas.openxmlformats.org/officeDocument/2006/relationships/slideLayout" Target="../slideLayouts/slideLayout867.xml"/><Relationship Id="rId196" Type="http://schemas.openxmlformats.org/officeDocument/2006/relationships/slideLayout" Target="../slideLayouts/slideLayout888.xml"/><Relationship Id="rId16" Type="http://schemas.openxmlformats.org/officeDocument/2006/relationships/slideLayout" Target="../slideLayouts/slideLayout708.xml"/><Relationship Id="rId37" Type="http://schemas.openxmlformats.org/officeDocument/2006/relationships/slideLayout" Target="../slideLayouts/slideLayout729.xml"/><Relationship Id="rId58" Type="http://schemas.openxmlformats.org/officeDocument/2006/relationships/slideLayout" Target="../slideLayouts/slideLayout750.xml"/><Relationship Id="rId79" Type="http://schemas.openxmlformats.org/officeDocument/2006/relationships/slideLayout" Target="../slideLayouts/slideLayout771.xml"/><Relationship Id="rId102" Type="http://schemas.openxmlformats.org/officeDocument/2006/relationships/slideLayout" Target="../slideLayouts/slideLayout794.xml"/><Relationship Id="rId123" Type="http://schemas.openxmlformats.org/officeDocument/2006/relationships/slideLayout" Target="../slideLayouts/slideLayout815.xml"/><Relationship Id="rId144" Type="http://schemas.openxmlformats.org/officeDocument/2006/relationships/slideLayout" Target="../slideLayouts/slideLayout836.xml"/><Relationship Id="rId90" Type="http://schemas.openxmlformats.org/officeDocument/2006/relationships/slideLayout" Target="../slideLayouts/slideLayout782.xml"/><Relationship Id="rId165" Type="http://schemas.openxmlformats.org/officeDocument/2006/relationships/slideLayout" Target="../slideLayouts/slideLayout857.xml"/><Relationship Id="rId186" Type="http://schemas.openxmlformats.org/officeDocument/2006/relationships/slideLayout" Target="../slideLayouts/slideLayout878.xml"/><Relationship Id="rId27" Type="http://schemas.openxmlformats.org/officeDocument/2006/relationships/slideLayout" Target="../slideLayouts/slideLayout719.xml"/><Relationship Id="rId48" Type="http://schemas.openxmlformats.org/officeDocument/2006/relationships/slideLayout" Target="../slideLayouts/slideLayout740.xml"/><Relationship Id="rId69" Type="http://schemas.openxmlformats.org/officeDocument/2006/relationships/slideLayout" Target="../slideLayouts/slideLayout761.xml"/><Relationship Id="rId113" Type="http://schemas.openxmlformats.org/officeDocument/2006/relationships/slideLayout" Target="../slideLayouts/slideLayout805.xml"/><Relationship Id="rId134" Type="http://schemas.openxmlformats.org/officeDocument/2006/relationships/slideLayout" Target="../slideLayouts/slideLayout826.xml"/><Relationship Id="rId80" Type="http://schemas.openxmlformats.org/officeDocument/2006/relationships/slideLayout" Target="../slideLayouts/slideLayout772.xml"/><Relationship Id="rId155" Type="http://schemas.openxmlformats.org/officeDocument/2006/relationships/slideLayout" Target="../slideLayouts/slideLayout847.xml"/><Relationship Id="rId176" Type="http://schemas.openxmlformats.org/officeDocument/2006/relationships/slideLayout" Target="../slideLayouts/slideLayout868.xml"/><Relationship Id="rId197" Type="http://schemas.openxmlformats.org/officeDocument/2006/relationships/slideLayout" Target="../slideLayouts/slideLayout889.xml"/><Relationship Id="rId17" Type="http://schemas.openxmlformats.org/officeDocument/2006/relationships/slideLayout" Target="../slideLayouts/slideLayout709.xml"/><Relationship Id="rId38" Type="http://schemas.openxmlformats.org/officeDocument/2006/relationships/slideLayout" Target="../slideLayouts/slideLayout730.xml"/><Relationship Id="rId59" Type="http://schemas.openxmlformats.org/officeDocument/2006/relationships/slideLayout" Target="../slideLayouts/slideLayout751.xml"/><Relationship Id="rId103" Type="http://schemas.openxmlformats.org/officeDocument/2006/relationships/slideLayout" Target="../slideLayouts/slideLayout795.xml"/><Relationship Id="rId124" Type="http://schemas.openxmlformats.org/officeDocument/2006/relationships/slideLayout" Target="../slideLayouts/slideLayout816.xml"/><Relationship Id="rId70" Type="http://schemas.openxmlformats.org/officeDocument/2006/relationships/slideLayout" Target="../slideLayouts/slideLayout762.xml"/><Relationship Id="rId91" Type="http://schemas.openxmlformats.org/officeDocument/2006/relationships/slideLayout" Target="../slideLayouts/slideLayout783.xml"/><Relationship Id="rId145" Type="http://schemas.openxmlformats.org/officeDocument/2006/relationships/slideLayout" Target="../slideLayouts/slideLayout837.xml"/><Relationship Id="rId166" Type="http://schemas.openxmlformats.org/officeDocument/2006/relationships/slideLayout" Target="../slideLayouts/slideLayout858.xml"/><Relationship Id="rId187" Type="http://schemas.openxmlformats.org/officeDocument/2006/relationships/slideLayout" Target="../slideLayouts/slideLayout879.xml"/><Relationship Id="rId1" Type="http://schemas.openxmlformats.org/officeDocument/2006/relationships/slideLayout" Target="../slideLayouts/slideLayout693.xml"/><Relationship Id="rId28" Type="http://schemas.openxmlformats.org/officeDocument/2006/relationships/slideLayout" Target="../slideLayouts/slideLayout720.xml"/><Relationship Id="rId49" Type="http://schemas.openxmlformats.org/officeDocument/2006/relationships/slideLayout" Target="../slideLayouts/slideLayout741.xml"/><Relationship Id="rId114" Type="http://schemas.openxmlformats.org/officeDocument/2006/relationships/slideLayout" Target="../slideLayouts/slideLayout806.xml"/><Relationship Id="rId60" Type="http://schemas.openxmlformats.org/officeDocument/2006/relationships/slideLayout" Target="../slideLayouts/slideLayout752.xml"/><Relationship Id="rId81" Type="http://schemas.openxmlformats.org/officeDocument/2006/relationships/slideLayout" Target="../slideLayouts/slideLayout773.xml"/><Relationship Id="rId135" Type="http://schemas.openxmlformats.org/officeDocument/2006/relationships/slideLayout" Target="../slideLayouts/slideLayout827.xml"/><Relationship Id="rId156" Type="http://schemas.openxmlformats.org/officeDocument/2006/relationships/slideLayout" Target="../slideLayouts/slideLayout848.xml"/><Relationship Id="rId177" Type="http://schemas.openxmlformats.org/officeDocument/2006/relationships/slideLayout" Target="../slideLayouts/slideLayout869.xml"/><Relationship Id="rId198" Type="http://schemas.openxmlformats.org/officeDocument/2006/relationships/slideLayout" Target="../slideLayouts/slideLayout890.xml"/><Relationship Id="rId18" Type="http://schemas.openxmlformats.org/officeDocument/2006/relationships/slideLayout" Target="../slideLayouts/slideLayout710.xml"/><Relationship Id="rId39" Type="http://schemas.openxmlformats.org/officeDocument/2006/relationships/slideLayout" Target="../slideLayouts/slideLayout731.xml"/><Relationship Id="rId50" Type="http://schemas.openxmlformats.org/officeDocument/2006/relationships/slideLayout" Target="../slideLayouts/slideLayout742.xml"/><Relationship Id="rId104" Type="http://schemas.openxmlformats.org/officeDocument/2006/relationships/slideLayout" Target="../slideLayouts/slideLayout796.xml"/><Relationship Id="rId125" Type="http://schemas.openxmlformats.org/officeDocument/2006/relationships/slideLayout" Target="../slideLayouts/slideLayout817.xml"/><Relationship Id="rId146" Type="http://schemas.openxmlformats.org/officeDocument/2006/relationships/slideLayout" Target="../slideLayouts/slideLayout838.xml"/><Relationship Id="rId167" Type="http://schemas.openxmlformats.org/officeDocument/2006/relationships/slideLayout" Target="../slideLayouts/slideLayout859.xml"/><Relationship Id="rId188" Type="http://schemas.openxmlformats.org/officeDocument/2006/relationships/slideLayout" Target="../slideLayouts/slideLayout880.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007.xml"/><Relationship Id="rId671" Type="http://schemas.openxmlformats.org/officeDocument/2006/relationships/slideLayout" Target="../slideLayouts/slideLayout1561.xml"/><Relationship Id="rId21" Type="http://schemas.openxmlformats.org/officeDocument/2006/relationships/slideLayout" Target="../slideLayouts/slideLayout911.xml"/><Relationship Id="rId324" Type="http://schemas.openxmlformats.org/officeDocument/2006/relationships/slideLayout" Target="../slideLayouts/slideLayout1214.xml"/><Relationship Id="rId531" Type="http://schemas.openxmlformats.org/officeDocument/2006/relationships/slideLayout" Target="../slideLayouts/slideLayout1421.xml"/><Relationship Id="rId629" Type="http://schemas.openxmlformats.org/officeDocument/2006/relationships/slideLayout" Target="../slideLayouts/slideLayout1519.xml"/><Relationship Id="rId170" Type="http://schemas.openxmlformats.org/officeDocument/2006/relationships/slideLayout" Target="../slideLayouts/slideLayout1060.xml"/><Relationship Id="rId268" Type="http://schemas.openxmlformats.org/officeDocument/2006/relationships/slideLayout" Target="../slideLayouts/slideLayout1158.xml"/><Relationship Id="rId475" Type="http://schemas.openxmlformats.org/officeDocument/2006/relationships/slideLayout" Target="../slideLayouts/slideLayout1365.xml"/><Relationship Id="rId682" Type="http://schemas.openxmlformats.org/officeDocument/2006/relationships/slideLayout" Target="../slideLayouts/slideLayout1572.xml"/><Relationship Id="rId32" Type="http://schemas.openxmlformats.org/officeDocument/2006/relationships/slideLayout" Target="../slideLayouts/slideLayout922.xml"/><Relationship Id="rId128" Type="http://schemas.openxmlformats.org/officeDocument/2006/relationships/slideLayout" Target="../slideLayouts/slideLayout1018.xml"/><Relationship Id="rId335" Type="http://schemas.openxmlformats.org/officeDocument/2006/relationships/slideLayout" Target="../slideLayouts/slideLayout1225.xml"/><Relationship Id="rId542" Type="http://schemas.openxmlformats.org/officeDocument/2006/relationships/slideLayout" Target="../slideLayouts/slideLayout1432.xml"/><Relationship Id="rId181" Type="http://schemas.openxmlformats.org/officeDocument/2006/relationships/slideLayout" Target="../slideLayouts/slideLayout1071.xml"/><Relationship Id="rId402" Type="http://schemas.openxmlformats.org/officeDocument/2006/relationships/slideLayout" Target="../slideLayouts/slideLayout1292.xml"/><Relationship Id="rId279" Type="http://schemas.openxmlformats.org/officeDocument/2006/relationships/slideLayout" Target="../slideLayouts/slideLayout1169.xml"/><Relationship Id="rId486" Type="http://schemas.openxmlformats.org/officeDocument/2006/relationships/slideLayout" Target="../slideLayouts/slideLayout1376.xml"/><Relationship Id="rId43" Type="http://schemas.openxmlformats.org/officeDocument/2006/relationships/slideLayout" Target="../slideLayouts/slideLayout933.xml"/><Relationship Id="rId139" Type="http://schemas.openxmlformats.org/officeDocument/2006/relationships/slideLayout" Target="../slideLayouts/slideLayout1029.xml"/><Relationship Id="rId346" Type="http://schemas.openxmlformats.org/officeDocument/2006/relationships/slideLayout" Target="../slideLayouts/slideLayout1236.xml"/><Relationship Id="rId553" Type="http://schemas.openxmlformats.org/officeDocument/2006/relationships/slideLayout" Target="../slideLayouts/slideLayout1443.xml"/><Relationship Id="rId192" Type="http://schemas.openxmlformats.org/officeDocument/2006/relationships/slideLayout" Target="../slideLayouts/slideLayout1082.xml"/><Relationship Id="rId206" Type="http://schemas.openxmlformats.org/officeDocument/2006/relationships/slideLayout" Target="../slideLayouts/slideLayout1096.xml"/><Relationship Id="rId413" Type="http://schemas.openxmlformats.org/officeDocument/2006/relationships/slideLayout" Target="../slideLayouts/slideLayout1303.xml"/><Relationship Id="rId497" Type="http://schemas.openxmlformats.org/officeDocument/2006/relationships/slideLayout" Target="../slideLayouts/slideLayout1387.xml"/><Relationship Id="rId620" Type="http://schemas.openxmlformats.org/officeDocument/2006/relationships/slideLayout" Target="../slideLayouts/slideLayout1510.xml"/><Relationship Id="rId357" Type="http://schemas.openxmlformats.org/officeDocument/2006/relationships/slideLayout" Target="../slideLayouts/slideLayout1247.xml"/><Relationship Id="rId54" Type="http://schemas.openxmlformats.org/officeDocument/2006/relationships/slideLayout" Target="../slideLayouts/slideLayout944.xml"/><Relationship Id="rId217" Type="http://schemas.openxmlformats.org/officeDocument/2006/relationships/slideLayout" Target="../slideLayouts/slideLayout1107.xml"/><Relationship Id="rId564" Type="http://schemas.openxmlformats.org/officeDocument/2006/relationships/slideLayout" Target="../slideLayouts/slideLayout1454.xml"/><Relationship Id="rId424" Type="http://schemas.openxmlformats.org/officeDocument/2006/relationships/slideLayout" Target="../slideLayouts/slideLayout1314.xml"/><Relationship Id="rId631" Type="http://schemas.openxmlformats.org/officeDocument/2006/relationships/slideLayout" Target="../slideLayouts/slideLayout1521.xml"/><Relationship Id="rId270" Type="http://schemas.openxmlformats.org/officeDocument/2006/relationships/slideLayout" Target="../slideLayouts/slideLayout1160.xml"/><Relationship Id="rId65" Type="http://schemas.openxmlformats.org/officeDocument/2006/relationships/slideLayout" Target="../slideLayouts/slideLayout955.xml"/><Relationship Id="rId130" Type="http://schemas.openxmlformats.org/officeDocument/2006/relationships/slideLayout" Target="../slideLayouts/slideLayout1020.xml"/><Relationship Id="rId368" Type="http://schemas.openxmlformats.org/officeDocument/2006/relationships/slideLayout" Target="../slideLayouts/slideLayout1258.xml"/><Relationship Id="rId575" Type="http://schemas.openxmlformats.org/officeDocument/2006/relationships/slideLayout" Target="../slideLayouts/slideLayout1465.xml"/><Relationship Id="rId228" Type="http://schemas.openxmlformats.org/officeDocument/2006/relationships/slideLayout" Target="../slideLayouts/slideLayout1118.xml"/><Relationship Id="rId435" Type="http://schemas.openxmlformats.org/officeDocument/2006/relationships/slideLayout" Target="../slideLayouts/slideLayout1325.xml"/><Relationship Id="rId642" Type="http://schemas.openxmlformats.org/officeDocument/2006/relationships/slideLayout" Target="../slideLayouts/slideLayout1532.xml"/><Relationship Id="rId281" Type="http://schemas.openxmlformats.org/officeDocument/2006/relationships/slideLayout" Target="../slideLayouts/slideLayout1171.xml"/><Relationship Id="rId502" Type="http://schemas.openxmlformats.org/officeDocument/2006/relationships/slideLayout" Target="../slideLayouts/slideLayout1392.xml"/><Relationship Id="rId76" Type="http://schemas.openxmlformats.org/officeDocument/2006/relationships/slideLayout" Target="../slideLayouts/slideLayout966.xml"/><Relationship Id="rId141" Type="http://schemas.openxmlformats.org/officeDocument/2006/relationships/slideLayout" Target="../slideLayouts/slideLayout1031.xml"/><Relationship Id="rId379" Type="http://schemas.openxmlformats.org/officeDocument/2006/relationships/slideLayout" Target="../slideLayouts/slideLayout1269.xml"/><Relationship Id="rId586" Type="http://schemas.openxmlformats.org/officeDocument/2006/relationships/slideLayout" Target="../slideLayouts/slideLayout1476.xml"/><Relationship Id="rId7" Type="http://schemas.openxmlformats.org/officeDocument/2006/relationships/slideLayout" Target="../slideLayouts/slideLayout897.xml"/><Relationship Id="rId239" Type="http://schemas.openxmlformats.org/officeDocument/2006/relationships/slideLayout" Target="../slideLayouts/slideLayout1129.xml"/><Relationship Id="rId446" Type="http://schemas.openxmlformats.org/officeDocument/2006/relationships/slideLayout" Target="../slideLayouts/slideLayout1336.xml"/><Relationship Id="rId653" Type="http://schemas.openxmlformats.org/officeDocument/2006/relationships/slideLayout" Target="../slideLayouts/slideLayout1543.xml"/><Relationship Id="rId292" Type="http://schemas.openxmlformats.org/officeDocument/2006/relationships/slideLayout" Target="../slideLayouts/slideLayout1182.xml"/><Relationship Id="rId306" Type="http://schemas.openxmlformats.org/officeDocument/2006/relationships/slideLayout" Target="../slideLayouts/slideLayout1196.xml"/><Relationship Id="rId87" Type="http://schemas.openxmlformats.org/officeDocument/2006/relationships/slideLayout" Target="../slideLayouts/slideLayout977.xml"/><Relationship Id="rId513" Type="http://schemas.openxmlformats.org/officeDocument/2006/relationships/slideLayout" Target="../slideLayouts/slideLayout1403.xml"/><Relationship Id="rId597" Type="http://schemas.openxmlformats.org/officeDocument/2006/relationships/slideLayout" Target="../slideLayouts/slideLayout1487.xml"/><Relationship Id="rId152" Type="http://schemas.openxmlformats.org/officeDocument/2006/relationships/slideLayout" Target="../slideLayouts/slideLayout1042.xml"/><Relationship Id="rId457" Type="http://schemas.openxmlformats.org/officeDocument/2006/relationships/slideLayout" Target="../slideLayouts/slideLayout1347.xml"/><Relationship Id="rId664" Type="http://schemas.openxmlformats.org/officeDocument/2006/relationships/slideLayout" Target="../slideLayouts/slideLayout1554.xml"/><Relationship Id="rId14" Type="http://schemas.openxmlformats.org/officeDocument/2006/relationships/slideLayout" Target="../slideLayouts/slideLayout904.xml"/><Relationship Id="rId317" Type="http://schemas.openxmlformats.org/officeDocument/2006/relationships/slideLayout" Target="../slideLayouts/slideLayout1207.xml"/><Relationship Id="rId524" Type="http://schemas.openxmlformats.org/officeDocument/2006/relationships/slideLayout" Target="../slideLayouts/slideLayout1414.xml"/><Relationship Id="rId98" Type="http://schemas.openxmlformats.org/officeDocument/2006/relationships/slideLayout" Target="../slideLayouts/slideLayout988.xml"/><Relationship Id="rId163" Type="http://schemas.openxmlformats.org/officeDocument/2006/relationships/slideLayout" Target="../slideLayouts/slideLayout1053.xml"/><Relationship Id="rId370" Type="http://schemas.openxmlformats.org/officeDocument/2006/relationships/slideLayout" Target="../slideLayouts/slideLayout1260.xml"/><Relationship Id="rId230" Type="http://schemas.openxmlformats.org/officeDocument/2006/relationships/slideLayout" Target="../slideLayouts/slideLayout1120.xml"/><Relationship Id="rId468" Type="http://schemas.openxmlformats.org/officeDocument/2006/relationships/slideLayout" Target="../slideLayouts/slideLayout1358.xml"/><Relationship Id="rId675" Type="http://schemas.openxmlformats.org/officeDocument/2006/relationships/slideLayout" Target="../slideLayouts/slideLayout1565.xml"/><Relationship Id="rId25" Type="http://schemas.openxmlformats.org/officeDocument/2006/relationships/slideLayout" Target="../slideLayouts/slideLayout915.xml"/><Relationship Id="rId328" Type="http://schemas.openxmlformats.org/officeDocument/2006/relationships/slideLayout" Target="../slideLayouts/slideLayout1218.xml"/><Relationship Id="rId535" Type="http://schemas.openxmlformats.org/officeDocument/2006/relationships/slideLayout" Target="../slideLayouts/slideLayout1425.xml"/><Relationship Id="rId174" Type="http://schemas.openxmlformats.org/officeDocument/2006/relationships/slideLayout" Target="../slideLayouts/slideLayout1064.xml"/><Relationship Id="rId381" Type="http://schemas.openxmlformats.org/officeDocument/2006/relationships/slideLayout" Target="../slideLayouts/slideLayout1271.xml"/><Relationship Id="rId602" Type="http://schemas.openxmlformats.org/officeDocument/2006/relationships/slideLayout" Target="../slideLayouts/slideLayout1492.xml"/><Relationship Id="rId241" Type="http://schemas.openxmlformats.org/officeDocument/2006/relationships/slideLayout" Target="../slideLayouts/slideLayout1131.xml"/><Relationship Id="rId479" Type="http://schemas.openxmlformats.org/officeDocument/2006/relationships/slideLayout" Target="../slideLayouts/slideLayout1369.xml"/><Relationship Id="rId36" Type="http://schemas.openxmlformats.org/officeDocument/2006/relationships/slideLayout" Target="../slideLayouts/slideLayout926.xml"/><Relationship Id="rId339" Type="http://schemas.openxmlformats.org/officeDocument/2006/relationships/slideLayout" Target="../slideLayouts/slideLayout1229.xml"/><Relationship Id="rId546" Type="http://schemas.openxmlformats.org/officeDocument/2006/relationships/slideLayout" Target="../slideLayouts/slideLayout1436.xml"/><Relationship Id="rId101" Type="http://schemas.openxmlformats.org/officeDocument/2006/relationships/slideLayout" Target="../slideLayouts/slideLayout991.xml"/><Relationship Id="rId185" Type="http://schemas.openxmlformats.org/officeDocument/2006/relationships/slideLayout" Target="../slideLayouts/slideLayout1075.xml"/><Relationship Id="rId406" Type="http://schemas.openxmlformats.org/officeDocument/2006/relationships/slideLayout" Target="../slideLayouts/slideLayout1296.xml"/><Relationship Id="rId392" Type="http://schemas.openxmlformats.org/officeDocument/2006/relationships/slideLayout" Target="../slideLayouts/slideLayout1282.xml"/><Relationship Id="rId613" Type="http://schemas.openxmlformats.org/officeDocument/2006/relationships/slideLayout" Target="../slideLayouts/slideLayout1503.xml"/><Relationship Id="rId252" Type="http://schemas.openxmlformats.org/officeDocument/2006/relationships/slideLayout" Target="../slideLayouts/slideLayout1142.xml"/><Relationship Id="rId47" Type="http://schemas.openxmlformats.org/officeDocument/2006/relationships/slideLayout" Target="../slideLayouts/slideLayout937.xml"/><Relationship Id="rId112" Type="http://schemas.openxmlformats.org/officeDocument/2006/relationships/slideLayout" Target="../slideLayouts/slideLayout1002.xml"/><Relationship Id="rId557" Type="http://schemas.openxmlformats.org/officeDocument/2006/relationships/slideLayout" Target="../slideLayouts/slideLayout1447.xml"/><Relationship Id="rId196" Type="http://schemas.openxmlformats.org/officeDocument/2006/relationships/slideLayout" Target="../slideLayouts/slideLayout1086.xml"/><Relationship Id="rId417" Type="http://schemas.openxmlformats.org/officeDocument/2006/relationships/slideLayout" Target="../slideLayouts/slideLayout1307.xml"/><Relationship Id="rId624" Type="http://schemas.openxmlformats.org/officeDocument/2006/relationships/slideLayout" Target="../slideLayouts/slideLayout1514.xml"/><Relationship Id="rId263" Type="http://schemas.openxmlformats.org/officeDocument/2006/relationships/slideLayout" Target="../slideLayouts/slideLayout1153.xml"/><Relationship Id="rId470" Type="http://schemas.openxmlformats.org/officeDocument/2006/relationships/slideLayout" Target="../slideLayouts/slideLayout1360.xml"/><Relationship Id="rId58" Type="http://schemas.openxmlformats.org/officeDocument/2006/relationships/slideLayout" Target="../slideLayouts/slideLayout948.xml"/><Relationship Id="rId123" Type="http://schemas.openxmlformats.org/officeDocument/2006/relationships/slideLayout" Target="../slideLayouts/slideLayout1013.xml"/><Relationship Id="rId330" Type="http://schemas.openxmlformats.org/officeDocument/2006/relationships/slideLayout" Target="../slideLayouts/slideLayout1220.xml"/><Relationship Id="rId568" Type="http://schemas.openxmlformats.org/officeDocument/2006/relationships/slideLayout" Target="../slideLayouts/slideLayout1458.xml"/><Relationship Id="rId428" Type="http://schemas.openxmlformats.org/officeDocument/2006/relationships/slideLayout" Target="../slideLayouts/slideLayout1318.xml"/><Relationship Id="rId635" Type="http://schemas.openxmlformats.org/officeDocument/2006/relationships/slideLayout" Target="../slideLayouts/slideLayout1525.xml"/><Relationship Id="rId274" Type="http://schemas.openxmlformats.org/officeDocument/2006/relationships/slideLayout" Target="../slideLayouts/slideLayout1164.xml"/><Relationship Id="rId481" Type="http://schemas.openxmlformats.org/officeDocument/2006/relationships/slideLayout" Target="../slideLayouts/slideLayout1371.xml"/><Relationship Id="rId69" Type="http://schemas.openxmlformats.org/officeDocument/2006/relationships/slideLayout" Target="../slideLayouts/slideLayout959.xml"/><Relationship Id="rId134" Type="http://schemas.openxmlformats.org/officeDocument/2006/relationships/slideLayout" Target="../slideLayouts/slideLayout1024.xml"/><Relationship Id="rId579" Type="http://schemas.openxmlformats.org/officeDocument/2006/relationships/slideLayout" Target="../slideLayouts/slideLayout1469.xml"/><Relationship Id="rId341" Type="http://schemas.openxmlformats.org/officeDocument/2006/relationships/slideLayout" Target="../slideLayouts/slideLayout1231.xml"/><Relationship Id="rId439" Type="http://schemas.openxmlformats.org/officeDocument/2006/relationships/slideLayout" Target="../slideLayouts/slideLayout1329.xml"/><Relationship Id="rId646" Type="http://schemas.openxmlformats.org/officeDocument/2006/relationships/slideLayout" Target="../slideLayouts/slideLayout1536.xml"/><Relationship Id="rId201" Type="http://schemas.openxmlformats.org/officeDocument/2006/relationships/slideLayout" Target="../slideLayouts/slideLayout1091.xml"/><Relationship Id="rId285" Type="http://schemas.openxmlformats.org/officeDocument/2006/relationships/slideLayout" Target="../slideLayouts/slideLayout1175.xml"/><Relationship Id="rId506" Type="http://schemas.openxmlformats.org/officeDocument/2006/relationships/slideLayout" Target="../slideLayouts/slideLayout1396.xml"/><Relationship Id="rId492" Type="http://schemas.openxmlformats.org/officeDocument/2006/relationships/slideLayout" Target="../slideLayouts/slideLayout1382.xml"/><Relationship Id="rId145" Type="http://schemas.openxmlformats.org/officeDocument/2006/relationships/slideLayout" Target="../slideLayouts/slideLayout1035.xml"/><Relationship Id="rId352" Type="http://schemas.openxmlformats.org/officeDocument/2006/relationships/slideLayout" Target="../slideLayouts/slideLayout1242.xml"/><Relationship Id="rId212" Type="http://schemas.openxmlformats.org/officeDocument/2006/relationships/slideLayout" Target="../slideLayouts/slideLayout1102.xml"/><Relationship Id="rId254" Type="http://schemas.openxmlformats.org/officeDocument/2006/relationships/slideLayout" Target="../slideLayouts/slideLayout1144.xml"/><Relationship Id="rId657" Type="http://schemas.openxmlformats.org/officeDocument/2006/relationships/slideLayout" Target="../slideLayouts/slideLayout1547.xml"/><Relationship Id="rId49" Type="http://schemas.openxmlformats.org/officeDocument/2006/relationships/slideLayout" Target="../slideLayouts/slideLayout939.xml"/><Relationship Id="rId114" Type="http://schemas.openxmlformats.org/officeDocument/2006/relationships/slideLayout" Target="../slideLayouts/slideLayout1004.xml"/><Relationship Id="rId296" Type="http://schemas.openxmlformats.org/officeDocument/2006/relationships/slideLayout" Target="../slideLayouts/slideLayout1186.xml"/><Relationship Id="rId461" Type="http://schemas.openxmlformats.org/officeDocument/2006/relationships/slideLayout" Target="../slideLayouts/slideLayout1351.xml"/><Relationship Id="rId517" Type="http://schemas.openxmlformats.org/officeDocument/2006/relationships/slideLayout" Target="../slideLayouts/slideLayout1407.xml"/><Relationship Id="rId559" Type="http://schemas.openxmlformats.org/officeDocument/2006/relationships/slideLayout" Target="../slideLayouts/slideLayout1449.xml"/><Relationship Id="rId60" Type="http://schemas.openxmlformats.org/officeDocument/2006/relationships/slideLayout" Target="../slideLayouts/slideLayout950.xml"/><Relationship Id="rId156" Type="http://schemas.openxmlformats.org/officeDocument/2006/relationships/slideLayout" Target="../slideLayouts/slideLayout1046.xml"/><Relationship Id="rId198" Type="http://schemas.openxmlformats.org/officeDocument/2006/relationships/slideLayout" Target="../slideLayouts/slideLayout1088.xml"/><Relationship Id="rId321" Type="http://schemas.openxmlformats.org/officeDocument/2006/relationships/slideLayout" Target="../slideLayouts/slideLayout1211.xml"/><Relationship Id="rId363" Type="http://schemas.openxmlformats.org/officeDocument/2006/relationships/slideLayout" Target="../slideLayouts/slideLayout1253.xml"/><Relationship Id="rId419" Type="http://schemas.openxmlformats.org/officeDocument/2006/relationships/slideLayout" Target="../slideLayouts/slideLayout1309.xml"/><Relationship Id="rId570" Type="http://schemas.openxmlformats.org/officeDocument/2006/relationships/slideLayout" Target="../slideLayouts/slideLayout1460.xml"/><Relationship Id="rId626" Type="http://schemas.openxmlformats.org/officeDocument/2006/relationships/slideLayout" Target="../slideLayouts/slideLayout1516.xml"/><Relationship Id="rId223" Type="http://schemas.openxmlformats.org/officeDocument/2006/relationships/slideLayout" Target="../slideLayouts/slideLayout1113.xml"/><Relationship Id="rId430" Type="http://schemas.openxmlformats.org/officeDocument/2006/relationships/slideLayout" Target="../slideLayouts/slideLayout1320.xml"/><Relationship Id="rId668" Type="http://schemas.openxmlformats.org/officeDocument/2006/relationships/slideLayout" Target="../slideLayouts/slideLayout1558.xml"/><Relationship Id="rId18" Type="http://schemas.openxmlformats.org/officeDocument/2006/relationships/slideLayout" Target="../slideLayouts/slideLayout908.xml"/><Relationship Id="rId265" Type="http://schemas.openxmlformats.org/officeDocument/2006/relationships/slideLayout" Target="../slideLayouts/slideLayout1155.xml"/><Relationship Id="rId472" Type="http://schemas.openxmlformats.org/officeDocument/2006/relationships/slideLayout" Target="../slideLayouts/slideLayout1362.xml"/><Relationship Id="rId528" Type="http://schemas.openxmlformats.org/officeDocument/2006/relationships/slideLayout" Target="../slideLayouts/slideLayout1418.xml"/><Relationship Id="rId125" Type="http://schemas.openxmlformats.org/officeDocument/2006/relationships/slideLayout" Target="../slideLayouts/slideLayout1015.xml"/><Relationship Id="rId167" Type="http://schemas.openxmlformats.org/officeDocument/2006/relationships/slideLayout" Target="../slideLayouts/slideLayout1057.xml"/><Relationship Id="rId332" Type="http://schemas.openxmlformats.org/officeDocument/2006/relationships/slideLayout" Target="../slideLayouts/slideLayout1222.xml"/><Relationship Id="rId374" Type="http://schemas.openxmlformats.org/officeDocument/2006/relationships/slideLayout" Target="../slideLayouts/slideLayout1264.xml"/><Relationship Id="rId581" Type="http://schemas.openxmlformats.org/officeDocument/2006/relationships/slideLayout" Target="../slideLayouts/slideLayout1471.xml"/><Relationship Id="rId71" Type="http://schemas.openxmlformats.org/officeDocument/2006/relationships/slideLayout" Target="../slideLayouts/slideLayout961.xml"/><Relationship Id="rId234" Type="http://schemas.openxmlformats.org/officeDocument/2006/relationships/slideLayout" Target="../slideLayouts/slideLayout1124.xml"/><Relationship Id="rId637" Type="http://schemas.openxmlformats.org/officeDocument/2006/relationships/slideLayout" Target="../slideLayouts/slideLayout1527.xml"/><Relationship Id="rId679" Type="http://schemas.openxmlformats.org/officeDocument/2006/relationships/slideLayout" Target="../slideLayouts/slideLayout1569.xml"/><Relationship Id="rId2" Type="http://schemas.openxmlformats.org/officeDocument/2006/relationships/slideLayout" Target="../slideLayouts/slideLayout892.xml"/><Relationship Id="rId29" Type="http://schemas.openxmlformats.org/officeDocument/2006/relationships/slideLayout" Target="../slideLayouts/slideLayout919.xml"/><Relationship Id="rId276" Type="http://schemas.openxmlformats.org/officeDocument/2006/relationships/slideLayout" Target="../slideLayouts/slideLayout1166.xml"/><Relationship Id="rId441" Type="http://schemas.openxmlformats.org/officeDocument/2006/relationships/slideLayout" Target="../slideLayouts/slideLayout1331.xml"/><Relationship Id="rId483" Type="http://schemas.openxmlformats.org/officeDocument/2006/relationships/slideLayout" Target="../slideLayouts/slideLayout1373.xml"/><Relationship Id="rId539" Type="http://schemas.openxmlformats.org/officeDocument/2006/relationships/slideLayout" Target="../slideLayouts/slideLayout1429.xml"/><Relationship Id="rId40" Type="http://schemas.openxmlformats.org/officeDocument/2006/relationships/slideLayout" Target="../slideLayouts/slideLayout930.xml"/><Relationship Id="rId136" Type="http://schemas.openxmlformats.org/officeDocument/2006/relationships/slideLayout" Target="../slideLayouts/slideLayout1026.xml"/><Relationship Id="rId178" Type="http://schemas.openxmlformats.org/officeDocument/2006/relationships/slideLayout" Target="../slideLayouts/slideLayout1068.xml"/><Relationship Id="rId301" Type="http://schemas.openxmlformats.org/officeDocument/2006/relationships/slideLayout" Target="../slideLayouts/slideLayout1191.xml"/><Relationship Id="rId343" Type="http://schemas.openxmlformats.org/officeDocument/2006/relationships/slideLayout" Target="../slideLayouts/slideLayout1233.xml"/><Relationship Id="rId550" Type="http://schemas.openxmlformats.org/officeDocument/2006/relationships/slideLayout" Target="../slideLayouts/slideLayout1440.xml"/><Relationship Id="rId82" Type="http://schemas.openxmlformats.org/officeDocument/2006/relationships/slideLayout" Target="../slideLayouts/slideLayout972.xml"/><Relationship Id="rId203" Type="http://schemas.openxmlformats.org/officeDocument/2006/relationships/slideLayout" Target="../slideLayouts/slideLayout1093.xml"/><Relationship Id="rId385" Type="http://schemas.openxmlformats.org/officeDocument/2006/relationships/slideLayout" Target="../slideLayouts/slideLayout1275.xml"/><Relationship Id="rId592" Type="http://schemas.openxmlformats.org/officeDocument/2006/relationships/slideLayout" Target="../slideLayouts/slideLayout1482.xml"/><Relationship Id="rId606" Type="http://schemas.openxmlformats.org/officeDocument/2006/relationships/slideLayout" Target="../slideLayouts/slideLayout1496.xml"/><Relationship Id="rId648" Type="http://schemas.openxmlformats.org/officeDocument/2006/relationships/slideLayout" Target="../slideLayouts/slideLayout1538.xml"/><Relationship Id="rId245" Type="http://schemas.openxmlformats.org/officeDocument/2006/relationships/slideLayout" Target="../slideLayouts/slideLayout1135.xml"/><Relationship Id="rId287" Type="http://schemas.openxmlformats.org/officeDocument/2006/relationships/slideLayout" Target="../slideLayouts/slideLayout1177.xml"/><Relationship Id="rId410" Type="http://schemas.openxmlformats.org/officeDocument/2006/relationships/slideLayout" Target="../slideLayouts/slideLayout1300.xml"/><Relationship Id="rId452" Type="http://schemas.openxmlformats.org/officeDocument/2006/relationships/slideLayout" Target="../slideLayouts/slideLayout1342.xml"/><Relationship Id="rId494" Type="http://schemas.openxmlformats.org/officeDocument/2006/relationships/slideLayout" Target="../slideLayouts/slideLayout1384.xml"/><Relationship Id="rId508" Type="http://schemas.openxmlformats.org/officeDocument/2006/relationships/slideLayout" Target="../slideLayouts/slideLayout1398.xml"/><Relationship Id="rId105" Type="http://schemas.openxmlformats.org/officeDocument/2006/relationships/slideLayout" Target="../slideLayouts/slideLayout995.xml"/><Relationship Id="rId147" Type="http://schemas.openxmlformats.org/officeDocument/2006/relationships/slideLayout" Target="../slideLayouts/slideLayout1037.xml"/><Relationship Id="rId312" Type="http://schemas.openxmlformats.org/officeDocument/2006/relationships/slideLayout" Target="../slideLayouts/slideLayout1202.xml"/><Relationship Id="rId354" Type="http://schemas.openxmlformats.org/officeDocument/2006/relationships/slideLayout" Target="../slideLayouts/slideLayout1244.xml"/><Relationship Id="rId51" Type="http://schemas.openxmlformats.org/officeDocument/2006/relationships/slideLayout" Target="../slideLayouts/slideLayout941.xml"/><Relationship Id="rId93" Type="http://schemas.openxmlformats.org/officeDocument/2006/relationships/slideLayout" Target="../slideLayouts/slideLayout983.xml"/><Relationship Id="rId189" Type="http://schemas.openxmlformats.org/officeDocument/2006/relationships/slideLayout" Target="../slideLayouts/slideLayout1079.xml"/><Relationship Id="rId396" Type="http://schemas.openxmlformats.org/officeDocument/2006/relationships/slideLayout" Target="../slideLayouts/slideLayout1286.xml"/><Relationship Id="rId561" Type="http://schemas.openxmlformats.org/officeDocument/2006/relationships/slideLayout" Target="../slideLayouts/slideLayout1451.xml"/><Relationship Id="rId617" Type="http://schemas.openxmlformats.org/officeDocument/2006/relationships/slideLayout" Target="../slideLayouts/slideLayout1507.xml"/><Relationship Id="rId659" Type="http://schemas.openxmlformats.org/officeDocument/2006/relationships/slideLayout" Target="../slideLayouts/slideLayout1549.xml"/><Relationship Id="rId214" Type="http://schemas.openxmlformats.org/officeDocument/2006/relationships/slideLayout" Target="../slideLayouts/slideLayout1104.xml"/><Relationship Id="rId256" Type="http://schemas.openxmlformats.org/officeDocument/2006/relationships/slideLayout" Target="../slideLayouts/slideLayout1146.xml"/><Relationship Id="rId298" Type="http://schemas.openxmlformats.org/officeDocument/2006/relationships/slideLayout" Target="../slideLayouts/slideLayout1188.xml"/><Relationship Id="rId421" Type="http://schemas.openxmlformats.org/officeDocument/2006/relationships/slideLayout" Target="../slideLayouts/slideLayout1311.xml"/><Relationship Id="rId463" Type="http://schemas.openxmlformats.org/officeDocument/2006/relationships/slideLayout" Target="../slideLayouts/slideLayout1353.xml"/><Relationship Id="rId519" Type="http://schemas.openxmlformats.org/officeDocument/2006/relationships/slideLayout" Target="../slideLayouts/slideLayout1409.xml"/><Relationship Id="rId670" Type="http://schemas.openxmlformats.org/officeDocument/2006/relationships/slideLayout" Target="../slideLayouts/slideLayout1560.xml"/><Relationship Id="rId116" Type="http://schemas.openxmlformats.org/officeDocument/2006/relationships/slideLayout" Target="../slideLayouts/slideLayout1006.xml"/><Relationship Id="rId158" Type="http://schemas.openxmlformats.org/officeDocument/2006/relationships/slideLayout" Target="../slideLayouts/slideLayout1048.xml"/><Relationship Id="rId323" Type="http://schemas.openxmlformats.org/officeDocument/2006/relationships/slideLayout" Target="../slideLayouts/slideLayout1213.xml"/><Relationship Id="rId530" Type="http://schemas.openxmlformats.org/officeDocument/2006/relationships/slideLayout" Target="../slideLayouts/slideLayout1420.xml"/><Relationship Id="rId20" Type="http://schemas.openxmlformats.org/officeDocument/2006/relationships/slideLayout" Target="../slideLayouts/slideLayout910.xml"/><Relationship Id="rId62" Type="http://schemas.openxmlformats.org/officeDocument/2006/relationships/slideLayout" Target="../slideLayouts/slideLayout952.xml"/><Relationship Id="rId365" Type="http://schemas.openxmlformats.org/officeDocument/2006/relationships/slideLayout" Target="../slideLayouts/slideLayout1255.xml"/><Relationship Id="rId572" Type="http://schemas.openxmlformats.org/officeDocument/2006/relationships/slideLayout" Target="../slideLayouts/slideLayout1462.xml"/><Relationship Id="rId628" Type="http://schemas.openxmlformats.org/officeDocument/2006/relationships/slideLayout" Target="../slideLayouts/slideLayout1518.xml"/><Relationship Id="rId225" Type="http://schemas.openxmlformats.org/officeDocument/2006/relationships/slideLayout" Target="../slideLayouts/slideLayout1115.xml"/><Relationship Id="rId267" Type="http://schemas.openxmlformats.org/officeDocument/2006/relationships/slideLayout" Target="../slideLayouts/slideLayout1157.xml"/><Relationship Id="rId432" Type="http://schemas.openxmlformats.org/officeDocument/2006/relationships/slideLayout" Target="../slideLayouts/slideLayout1322.xml"/><Relationship Id="rId474" Type="http://schemas.openxmlformats.org/officeDocument/2006/relationships/slideLayout" Target="../slideLayouts/slideLayout1364.xml"/><Relationship Id="rId127" Type="http://schemas.openxmlformats.org/officeDocument/2006/relationships/slideLayout" Target="../slideLayouts/slideLayout1017.xml"/><Relationship Id="rId681" Type="http://schemas.openxmlformats.org/officeDocument/2006/relationships/slideLayout" Target="../slideLayouts/slideLayout1571.xml"/><Relationship Id="rId31" Type="http://schemas.openxmlformats.org/officeDocument/2006/relationships/slideLayout" Target="../slideLayouts/slideLayout921.xml"/><Relationship Id="rId73" Type="http://schemas.openxmlformats.org/officeDocument/2006/relationships/slideLayout" Target="../slideLayouts/slideLayout963.xml"/><Relationship Id="rId169" Type="http://schemas.openxmlformats.org/officeDocument/2006/relationships/slideLayout" Target="../slideLayouts/slideLayout1059.xml"/><Relationship Id="rId334" Type="http://schemas.openxmlformats.org/officeDocument/2006/relationships/slideLayout" Target="../slideLayouts/slideLayout1224.xml"/><Relationship Id="rId376" Type="http://schemas.openxmlformats.org/officeDocument/2006/relationships/slideLayout" Target="../slideLayouts/slideLayout1266.xml"/><Relationship Id="rId541" Type="http://schemas.openxmlformats.org/officeDocument/2006/relationships/slideLayout" Target="../slideLayouts/slideLayout1431.xml"/><Relationship Id="rId583" Type="http://schemas.openxmlformats.org/officeDocument/2006/relationships/slideLayout" Target="../slideLayouts/slideLayout1473.xml"/><Relationship Id="rId639" Type="http://schemas.openxmlformats.org/officeDocument/2006/relationships/slideLayout" Target="../slideLayouts/slideLayout1529.xml"/><Relationship Id="rId4" Type="http://schemas.openxmlformats.org/officeDocument/2006/relationships/slideLayout" Target="../slideLayouts/slideLayout894.xml"/><Relationship Id="rId180" Type="http://schemas.openxmlformats.org/officeDocument/2006/relationships/slideLayout" Target="../slideLayouts/slideLayout1070.xml"/><Relationship Id="rId236" Type="http://schemas.openxmlformats.org/officeDocument/2006/relationships/slideLayout" Target="../slideLayouts/slideLayout1126.xml"/><Relationship Id="rId278" Type="http://schemas.openxmlformats.org/officeDocument/2006/relationships/slideLayout" Target="../slideLayouts/slideLayout1168.xml"/><Relationship Id="rId401" Type="http://schemas.openxmlformats.org/officeDocument/2006/relationships/slideLayout" Target="../slideLayouts/slideLayout1291.xml"/><Relationship Id="rId443" Type="http://schemas.openxmlformats.org/officeDocument/2006/relationships/slideLayout" Target="../slideLayouts/slideLayout1333.xml"/><Relationship Id="rId650" Type="http://schemas.openxmlformats.org/officeDocument/2006/relationships/slideLayout" Target="../slideLayouts/slideLayout1540.xml"/><Relationship Id="rId303" Type="http://schemas.openxmlformats.org/officeDocument/2006/relationships/slideLayout" Target="../slideLayouts/slideLayout1193.xml"/><Relationship Id="rId485" Type="http://schemas.openxmlformats.org/officeDocument/2006/relationships/slideLayout" Target="../slideLayouts/slideLayout1375.xml"/><Relationship Id="rId42" Type="http://schemas.openxmlformats.org/officeDocument/2006/relationships/slideLayout" Target="../slideLayouts/slideLayout932.xml"/><Relationship Id="rId84" Type="http://schemas.openxmlformats.org/officeDocument/2006/relationships/slideLayout" Target="../slideLayouts/slideLayout974.xml"/><Relationship Id="rId138" Type="http://schemas.openxmlformats.org/officeDocument/2006/relationships/slideLayout" Target="../slideLayouts/slideLayout1028.xml"/><Relationship Id="rId345" Type="http://schemas.openxmlformats.org/officeDocument/2006/relationships/slideLayout" Target="../slideLayouts/slideLayout1235.xml"/><Relationship Id="rId387" Type="http://schemas.openxmlformats.org/officeDocument/2006/relationships/slideLayout" Target="../slideLayouts/slideLayout1277.xml"/><Relationship Id="rId510" Type="http://schemas.openxmlformats.org/officeDocument/2006/relationships/slideLayout" Target="../slideLayouts/slideLayout1400.xml"/><Relationship Id="rId552" Type="http://schemas.openxmlformats.org/officeDocument/2006/relationships/slideLayout" Target="../slideLayouts/slideLayout1442.xml"/><Relationship Id="rId594" Type="http://schemas.openxmlformats.org/officeDocument/2006/relationships/slideLayout" Target="../slideLayouts/slideLayout1484.xml"/><Relationship Id="rId608" Type="http://schemas.openxmlformats.org/officeDocument/2006/relationships/slideLayout" Target="../slideLayouts/slideLayout1498.xml"/><Relationship Id="rId191" Type="http://schemas.openxmlformats.org/officeDocument/2006/relationships/slideLayout" Target="../slideLayouts/slideLayout1081.xml"/><Relationship Id="rId205" Type="http://schemas.openxmlformats.org/officeDocument/2006/relationships/slideLayout" Target="../slideLayouts/slideLayout1095.xml"/><Relationship Id="rId247" Type="http://schemas.openxmlformats.org/officeDocument/2006/relationships/slideLayout" Target="../slideLayouts/slideLayout1137.xml"/><Relationship Id="rId412" Type="http://schemas.openxmlformats.org/officeDocument/2006/relationships/slideLayout" Target="../slideLayouts/slideLayout1302.xml"/><Relationship Id="rId107" Type="http://schemas.openxmlformats.org/officeDocument/2006/relationships/slideLayout" Target="../slideLayouts/slideLayout997.xml"/><Relationship Id="rId289" Type="http://schemas.openxmlformats.org/officeDocument/2006/relationships/slideLayout" Target="../slideLayouts/slideLayout1179.xml"/><Relationship Id="rId454" Type="http://schemas.openxmlformats.org/officeDocument/2006/relationships/slideLayout" Target="../slideLayouts/slideLayout1344.xml"/><Relationship Id="rId496" Type="http://schemas.openxmlformats.org/officeDocument/2006/relationships/slideLayout" Target="../slideLayouts/slideLayout1386.xml"/><Relationship Id="rId661" Type="http://schemas.openxmlformats.org/officeDocument/2006/relationships/slideLayout" Target="../slideLayouts/slideLayout1551.xml"/><Relationship Id="rId11" Type="http://schemas.openxmlformats.org/officeDocument/2006/relationships/slideLayout" Target="../slideLayouts/slideLayout901.xml"/><Relationship Id="rId53" Type="http://schemas.openxmlformats.org/officeDocument/2006/relationships/slideLayout" Target="../slideLayouts/slideLayout943.xml"/><Relationship Id="rId149" Type="http://schemas.openxmlformats.org/officeDocument/2006/relationships/slideLayout" Target="../slideLayouts/slideLayout1039.xml"/><Relationship Id="rId314" Type="http://schemas.openxmlformats.org/officeDocument/2006/relationships/slideLayout" Target="../slideLayouts/slideLayout1204.xml"/><Relationship Id="rId356" Type="http://schemas.openxmlformats.org/officeDocument/2006/relationships/slideLayout" Target="../slideLayouts/slideLayout1246.xml"/><Relationship Id="rId398" Type="http://schemas.openxmlformats.org/officeDocument/2006/relationships/slideLayout" Target="../slideLayouts/slideLayout1288.xml"/><Relationship Id="rId521" Type="http://schemas.openxmlformats.org/officeDocument/2006/relationships/slideLayout" Target="../slideLayouts/slideLayout1411.xml"/><Relationship Id="rId563" Type="http://schemas.openxmlformats.org/officeDocument/2006/relationships/slideLayout" Target="../slideLayouts/slideLayout1453.xml"/><Relationship Id="rId619" Type="http://schemas.openxmlformats.org/officeDocument/2006/relationships/slideLayout" Target="../slideLayouts/slideLayout1509.xml"/><Relationship Id="rId95" Type="http://schemas.openxmlformats.org/officeDocument/2006/relationships/slideLayout" Target="../slideLayouts/slideLayout985.xml"/><Relationship Id="rId160" Type="http://schemas.openxmlformats.org/officeDocument/2006/relationships/slideLayout" Target="../slideLayouts/slideLayout1050.xml"/><Relationship Id="rId216" Type="http://schemas.openxmlformats.org/officeDocument/2006/relationships/slideLayout" Target="../slideLayouts/slideLayout1106.xml"/><Relationship Id="rId423" Type="http://schemas.openxmlformats.org/officeDocument/2006/relationships/slideLayout" Target="../slideLayouts/slideLayout1313.xml"/><Relationship Id="rId258" Type="http://schemas.openxmlformats.org/officeDocument/2006/relationships/slideLayout" Target="../slideLayouts/slideLayout1148.xml"/><Relationship Id="rId465" Type="http://schemas.openxmlformats.org/officeDocument/2006/relationships/slideLayout" Target="../slideLayouts/slideLayout1355.xml"/><Relationship Id="rId630" Type="http://schemas.openxmlformats.org/officeDocument/2006/relationships/slideLayout" Target="../slideLayouts/slideLayout1520.xml"/><Relationship Id="rId672" Type="http://schemas.openxmlformats.org/officeDocument/2006/relationships/slideLayout" Target="../slideLayouts/slideLayout1562.xml"/><Relationship Id="rId22" Type="http://schemas.openxmlformats.org/officeDocument/2006/relationships/slideLayout" Target="../slideLayouts/slideLayout912.xml"/><Relationship Id="rId64" Type="http://schemas.openxmlformats.org/officeDocument/2006/relationships/slideLayout" Target="../slideLayouts/slideLayout954.xml"/><Relationship Id="rId118" Type="http://schemas.openxmlformats.org/officeDocument/2006/relationships/slideLayout" Target="../slideLayouts/slideLayout1008.xml"/><Relationship Id="rId325" Type="http://schemas.openxmlformats.org/officeDocument/2006/relationships/slideLayout" Target="../slideLayouts/slideLayout1215.xml"/><Relationship Id="rId367" Type="http://schemas.openxmlformats.org/officeDocument/2006/relationships/slideLayout" Target="../slideLayouts/slideLayout1257.xml"/><Relationship Id="rId532" Type="http://schemas.openxmlformats.org/officeDocument/2006/relationships/slideLayout" Target="../slideLayouts/slideLayout1422.xml"/><Relationship Id="rId574" Type="http://schemas.openxmlformats.org/officeDocument/2006/relationships/slideLayout" Target="../slideLayouts/slideLayout1464.xml"/><Relationship Id="rId171" Type="http://schemas.openxmlformats.org/officeDocument/2006/relationships/slideLayout" Target="../slideLayouts/slideLayout1061.xml"/><Relationship Id="rId227" Type="http://schemas.openxmlformats.org/officeDocument/2006/relationships/slideLayout" Target="../slideLayouts/slideLayout1117.xml"/><Relationship Id="rId269" Type="http://schemas.openxmlformats.org/officeDocument/2006/relationships/slideLayout" Target="../slideLayouts/slideLayout1159.xml"/><Relationship Id="rId434" Type="http://schemas.openxmlformats.org/officeDocument/2006/relationships/slideLayout" Target="../slideLayouts/slideLayout1324.xml"/><Relationship Id="rId476" Type="http://schemas.openxmlformats.org/officeDocument/2006/relationships/slideLayout" Target="../slideLayouts/slideLayout1366.xml"/><Relationship Id="rId641" Type="http://schemas.openxmlformats.org/officeDocument/2006/relationships/slideLayout" Target="../slideLayouts/slideLayout1531.xml"/><Relationship Id="rId683" Type="http://schemas.openxmlformats.org/officeDocument/2006/relationships/slideLayout" Target="../slideLayouts/slideLayout1573.xml"/><Relationship Id="rId33" Type="http://schemas.openxmlformats.org/officeDocument/2006/relationships/slideLayout" Target="../slideLayouts/slideLayout923.xml"/><Relationship Id="rId129" Type="http://schemas.openxmlformats.org/officeDocument/2006/relationships/slideLayout" Target="../slideLayouts/slideLayout1019.xml"/><Relationship Id="rId280" Type="http://schemas.openxmlformats.org/officeDocument/2006/relationships/slideLayout" Target="../slideLayouts/slideLayout1170.xml"/><Relationship Id="rId336" Type="http://schemas.openxmlformats.org/officeDocument/2006/relationships/slideLayout" Target="../slideLayouts/slideLayout1226.xml"/><Relationship Id="rId501" Type="http://schemas.openxmlformats.org/officeDocument/2006/relationships/slideLayout" Target="../slideLayouts/slideLayout1391.xml"/><Relationship Id="rId543" Type="http://schemas.openxmlformats.org/officeDocument/2006/relationships/slideLayout" Target="../slideLayouts/slideLayout1433.xml"/><Relationship Id="rId75" Type="http://schemas.openxmlformats.org/officeDocument/2006/relationships/slideLayout" Target="../slideLayouts/slideLayout965.xml"/><Relationship Id="rId140" Type="http://schemas.openxmlformats.org/officeDocument/2006/relationships/slideLayout" Target="../slideLayouts/slideLayout1030.xml"/><Relationship Id="rId182" Type="http://schemas.openxmlformats.org/officeDocument/2006/relationships/slideLayout" Target="../slideLayouts/slideLayout1072.xml"/><Relationship Id="rId378" Type="http://schemas.openxmlformats.org/officeDocument/2006/relationships/slideLayout" Target="../slideLayouts/slideLayout1268.xml"/><Relationship Id="rId403" Type="http://schemas.openxmlformats.org/officeDocument/2006/relationships/slideLayout" Target="../slideLayouts/slideLayout1293.xml"/><Relationship Id="rId585" Type="http://schemas.openxmlformats.org/officeDocument/2006/relationships/slideLayout" Target="../slideLayouts/slideLayout1475.xml"/><Relationship Id="rId6" Type="http://schemas.openxmlformats.org/officeDocument/2006/relationships/slideLayout" Target="../slideLayouts/slideLayout896.xml"/><Relationship Id="rId238" Type="http://schemas.openxmlformats.org/officeDocument/2006/relationships/slideLayout" Target="../slideLayouts/slideLayout1128.xml"/><Relationship Id="rId445" Type="http://schemas.openxmlformats.org/officeDocument/2006/relationships/slideLayout" Target="../slideLayouts/slideLayout1335.xml"/><Relationship Id="rId487" Type="http://schemas.openxmlformats.org/officeDocument/2006/relationships/slideLayout" Target="../slideLayouts/slideLayout1377.xml"/><Relationship Id="rId610" Type="http://schemas.openxmlformats.org/officeDocument/2006/relationships/slideLayout" Target="../slideLayouts/slideLayout1500.xml"/><Relationship Id="rId652" Type="http://schemas.openxmlformats.org/officeDocument/2006/relationships/slideLayout" Target="../slideLayouts/slideLayout1542.xml"/><Relationship Id="rId291" Type="http://schemas.openxmlformats.org/officeDocument/2006/relationships/slideLayout" Target="../slideLayouts/slideLayout1181.xml"/><Relationship Id="rId305" Type="http://schemas.openxmlformats.org/officeDocument/2006/relationships/slideLayout" Target="../slideLayouts/slideLayout1195.xml"/><Relationship Id="rId347" Type="http://schemas.openxmlformats.org/officeDocument/2006/relationships/slideLayout" Target="../slideLayouts/slideLayout1237.xml"/><Relationship Id="rId512" Type="http://schemas.openxmlformats.org/officeDocument/2006/relationships/slideLayout" Target="../slideLayouts/slideLayout1402.xml"/><Relationship Id="rId44" Type="http://schemas.openxmlformats.org/officeDocument/2006/relationships/slideLayout" Target="../slideLayouts/slideLayout934.xml"/><Relationship Id="rId86" Type="http://schemas.openxmlformats.org/officeDocument/2006/relationships/slideLayout" Target="../slideLayouts/slideLayout976.xml"/><Relationship Id="rId151" Type="http://schemas.openxmlformats.org/officeDocument/2006/relationships/slideLayout" Target="../slideLayouts/slideLayout1041.xml"/><Relationship Id="rId389" Type="http://schemas.openxmlformats.org/officeDocument/2006/relationships/slideLayout" Target="../slideLayouts/slideLayout1279.xml"/><Relationship Id="rId554" Type="http://schemas.openxmlformats.org/officeDocument/2006/relationships/slideLayout" Target="../slideLayouts/slideLayout1444.xml"/><Relationship Id="rId596" Type="http://schemas.openxmlformats.org/officeDocument/2006/relationships/slideLayout" Target="../slideLayouts/slideLayout1486.xml"/><Relationship Id="rId193" Type="http://schemas.openxmlformats.org/officeDocument/2006/relationships/slideLayout" Target="../slideLayouts/slideLayout1083.xml"/><Relationship Id="rId207" Type="http://schemas.openxmlformats.org/officeDocument/2006/relationships/slideLayout" Target="../slideLayouts/slideLayout1097.xml"/><Relationship Id="rId249" Type="http://schemas.openxmlformats.org/officeDocument/2006/relationships/slideLayout" Target="../slideLayouts/slideLayout1139.xml"/><Relationship Id="rId414" Type="http://schemas.openxmlformats.org/officeDocument/2006/relationships/slideLayout" Target="../slideLayouts/slideLayout1304.xml"/><Relationship Id="rId456" Type="http://schemas.openxmlformats.org/officeDocument/2006/relationships/slideLayout" Target="../slideLayouts/slideLayout1346.xml"/><Relationship Id="rId498" Type="http://schemas.openxmlformats.org/officeDocument/2006/relationships/slideLayout" Target="../slideLayouts/slideLayout1388.xml"/><Relationship Id="rId621" Type="http://schemas.openxmlformats.org/officeDocument/2006/relationships/slideLayout" Target="../slideLayouts/slideLayout1511.xml"/><Relationship Id="rId663" Type="http://schemas.openxmlformats.org/officeDocument/2006/relationships/slideLayout" Target="../slideLayouts/slideLayout1553.xml"/><Relationship Id="rId13" Type="http://schemas.openxmlformats.org/officeDocument/2006/relationships/slideLayout" Target="../slideLayouts/slideLayout903.xml"/><Relationship Id="rId109" Type="http://schemas.openxmlformats.org/officeDocument/2006/relationships/slideLayout" Target="../slideLayouts/slideLayout999.xml"/><Relationship Id="rId260" Type="http://schemas.openxmlformats.org/officeDocument/2006/relationships/slideLayout" Target="../slideLayouts/slideLayout1150.xml"/><Relationship Id="rId316" Type="http://schemas.openxmlformats.org/officeDocument/2006/relationships/slideLayout" Target="../slideLayouts/slideLayout1206.xml"/><Relationship Id="rId523" Type="http://schemas.openxmlformats.org/officeDocument/2006/relationships/slideLayout" Target="../slideLayouts/slideLayout1413.xml"/><Relationship Id="rId55" Type="http://schemas.openxmlformats.org/officeDocument/2006/relationships/slideLayout" Target="../slideLayouts/slideLayout945.xml"/><Relationship Id="rId97" Type="http://schemas.openxmlformats.org/officeDocument/2006/relationships/slideLayout" Target="../slideLayouts/slideLayout987.xml"/><Relationship Id="rId120" Type="http://schemas.openxmlformats.org/officeDocument/2006/relationships/slideLayout" Target="../slideLayouts/slideLayout1010.xml"/><Relationship Id="rId358" Type="http://schemas.openxmlformats.org/officeDocument/2006/relationships/slideLayout" Target="../slideLayouts/slideLayout1248.xml"/><Relationship Id="rId565" Type="http://schemas.openxmlformats.org/officeDocument/2006/relationships/slideLayout" Target="../slideLayouts/slideLayout1455.xml"/><Relationship Id="rId162" Type="http://schemas.openxmlformats.org/officeDocument/2006/relationships/slideLayout" Target="../slideLayouts/slideLayout1052.xml"/><Relationship Id="rId218" Type="http://schemas.openxmlformats.org/officeDocument/2006/relationships/slideLayout" Target="../slideLayouts/slideLayout1108.xml"/><Relationship Id="rId425" Type="http://schemas.openxmlformats.org/officeDocument/2006/relationships/slideLayout" Target="../slideLayouts/slideLayout1315.xml"/><Relationship Id="rId467" Type="http://schemas.openxmlformats.org/officeDocument/2006/relationships/slideLayout" Target="../slideLayouts/slideLayout1357.xml"/><Relationship Id="rId632" Type="http://schemas.openxmlformats.org/officeDocument/2006/relationships/slideLayout" Target="../slideLayouts/slideLayout1522.xml"/><Relationship Id="rId271" Type="http://schemas.openxmlformats.org/officeDocument/2006/relationships/slideLayout" Target="../slideLayouts/slideLayout1161.xml"/><Relationship Id="rId674" Type="http://schemas.openxmlformats.org/officeDocument/2006/relationships/slideLayout" Target="../slideLayouts/slideLayout1564.xml"/><Relationship Id="rId24" Type="http://schemas.openxmlformats.org/officeDocument/2006/relationships/slideLayout" Target="../slideLayouts/slideLayout914.xml"/><Relationship Id="rId66" Type="http://schemas.openxmlformats.org/officeDocument/2006/relationships/slideLayout" Target="../slideLayouts/slideLayout956.xml"/><Relationship Id="rId131" Type="http://schemas.openxmlformats.org/officeDocument/2006/relationships/slideLayout" Target="../slideLayouts/slideLayout1021.xml"/><Relationship Id="rId327" Type="http://schemas.openxmlformats.org/officeDocument/2006/relationships/slideLayout" Target="../slideLayouts/slideLayout1217.xml"/><Relationship Id="rId369" Type="http://schemas.openxmlformats.org/officeDocument/2006/relationships/slideLayout" Target="../slideLayouts/slideLayout1259.xml"/><Relationship Id="rId534" Type="http://schemas.openxmlformats.org/officeDocument/2006/relationships/slideLayout" Target="../slideLayouts/slideLayout1424.xml"/><Relationship Id="rId576" Type="http://schemas.openxmlformats.org/officeDocument/2006/relationships/slideLayout" Target="../slideLayouts/slideLayout1466.xml"/><Relationship Id="rId173" Type="http://schemas.openxmlformats.org/officeDocument/2006/relationships/slideLayout" Target="../slideLayouts/slideLayout1063.xml"/><Relationship Id="rId229" Type="http://schemas.openxmlformats.org/officeDocument/2006/relationships/slideLayout" Target="../slideLayouts/slideLayout1119.xml"/><Relationship Id="rId380" Type="http://schemas.openxmlformats.org/officeDocument/2006/relationships/slideLayout" Target="../slideLayouts/slideLayout1270.xml"/><Relationship Id="rId436" Type="http://schemas.openxmlformats.org/officeDocument/2006/relationships/slideLayout" Target="../slideLayouts/slideLayout1326.xml"/><Relationship Id="rId601" Type="http://schemas.openxmlformats.org/officeDocument/2006/relationships/slideLayout" Target="../slideLayouts/slideLayout1491.xml"/><Relationship Id="rId643" Type="http://schemas.openxmlformats.org/officeDocument/2006/relationships/slideLayout" Target="../slideLayouts/slideLayout1533.xml"/><Relationship Id="rId240" Type="http://schemas.openxmlformats.org/officeDocument/2006/relationships/slideLayout" Target="../slideLayouts/slideLayout1130.xml"/><Relationship Id="rId478" Type="http://schemas.openxmlformats.org/officeDocument/2006/relationships/slideLayout" Target="../slideLayouts/slideLayout1368.xml"/><Relationship Id="rId685" Type="http://schemas.openxmlformats.org/officeDocument/2006/relationships/theme" Target="../theme/theme4.xml"/><Relationship Id="rId35" Type="http://schemas.openxmlformats.org/officeDocument/2006/relationships/slideLayout" Target="../slideLayouts/slideLayout925.xml"/><Relationship Id="rId77" Type="http://schemas.openxmlformats.org/officeDocument/2006/relationships/slideLayout" Target="../slideLayouts/slideLayout967.xml"/><Relationship Id="rId100" Type="http://schemas.openxmlformats.org/officeDocument/2006/relationships/slideLayout" Target="../slideLayouts/slideLayout990.xml"/><Relationship Id="rId282" Type="http://schemas.openxmlformats.org/officeDocument/2006/relationships/slideLayout" Target="../slideLayouts/slideLayout1172.xml"/><Relationship Id="rId338" Type="http://schemas.openxmlformats.org/officeDocument/2006/relationships/slideLayout" Target="../slideLayouts/slideLayout1228.xml"/><Relationship Id="rId503" Type="http://schemas.openxmlformats.org/officeDocument/2006/relationships/slideLayout" Target="../slideLayouts/slideLayout1393.xml"/><Relationship Id="rId545" Type="http://schemas.openxmlformats.org/officeDocument/2006/relationships/slideLayout" Target="../slideLayouts/slideLayout1435.xml"/><Relationship Id="rId587" Type="http://schemas.openxmlformats.org/officeDocument/2006/relationships/slideLayout" Target="../slideLayouts/slideLayout1477.xml"/><Relationship Id="rId8" Type="http://schemas.openxmlformats.org/officeDocument/2006/relationships/slideLayout" Target="../slideLayouts/slideLayout898.xml"/><Relationship Id="rId142" Type="http://schemas.openxmlformats.org/officeDocument/2006/relationships/slideLayout" Target="../slideLayouts/slideLayout1032.xml"/><Relationship Id="rId184" Type="http://schemas.openxmlformats.org/officeDocument/2006/relationships/slideLayout" Target="../slideLayouts/slideLayout1074.xml"/><Relationship Id="rId391" Type="http://schemas.openxmlformats.org/officeDocument/2006/relationships/slideLayout" Target="../slideLayouts/slideLayout1281.xml"/><Relationship Id="rId405" Type="http://schemas.openxmlformats.org/officeDocument/2006/relationships/slideLayout" Target="../slideLayouts/slideLayout1295.xml"/><Relationship Id="rId447" Type="http://schemas.openxmlformats.org/officeDocument/2006/relationships/slideLayout" Target="../slideLayouts/slideLayout1337.xml"/><Relationship Id="rId612" Type="http://schemas.openxmlformats.org/officeDocument/2006/relationships/slideLayout" Target="../slideLayouts/slideLayout1502.xml"/><Relationship Id="rId251" Type="http://schemas.openxmlformats.org/officeDocument/2006/relationships/slideLayout" Target="../slideLayouts/slideLayout1141.xml"/><Relationship Id="rId489" Type="http://schemas.openxmlformats.org/officeDocument/2006/relationships/slideLayout" Target="../slideLayouts/slideLayout1379.xml"/><Relationship Id="rId654" Type="http://schemas.openxmlformats.org/officeDocument/2006/relationships/slideLayout" Target="../slideLayouts/slideLayout1544.xml"/><Relationship Id="rId46" Type="http://schemas.openxmlformats.org/officeDocument/2006/relationships/slideLayout" Target="../slideLayouts/slideLayout936.xml"/><Relationship Id="rId293" Type="http://schemas.openxmlformats.org/officeDocument/2006/relationships/slideLayout" Target="../slideLayouts/slideLayout1183.xml"/><Relationship Id="rId307" Type="http://schemas.openxmlformats.org/officeDocument/2006/relationships/slideLayout" Target="../slideLayouts/slideLayout1197.xml"/><Relationship Id="rId349" Type="http://schemas.openxmlformats.org/officeDocument/2006/relationships/slideLayout" Target="../slideLayouts/slideLayout1239.xml"/><Relationship Id="rId514" Type="http://schemas.openxmlformats.org/officeDocument/2006/relationships/slideLayout" Target="../slideLayouts/slideLayout1404.xml"/><Relationship Id="rId556" Type="http://schemas.openxmlformats.org/officeDocument/2006/relationships/slideLayout" Target="../slideLayouts/slideLayout1446.xml"/><Relationship Id="rId88" Type="http://schemas.openxmlformats.org/officeDocument/2006/relationships/slideLayout" Target="../slideLayouts/slideLayout978.xml"/><Relationship Id="rId111" Type="http://schemas.openxmlformats.org/officeDocument/2006/relationships/slideLayout" Target="../slideLayouts/slideLayout1001.xml"/><Relationship Id="rId153" Type="http://schemas.openxmlformats.org/officeDocument/2006/relationships/slideLayout" Target="../slideLayouts/slideLayout1043.xml"/><Relationship Id="rId195" Type="http://schemas.openxmlformats.org/officeDocument/2006/relationships/slideLayout" Target="../slideLayouts/slideLayout1085.xml"/><Relationship Id="rId209" Type="http://schemas.openxmlformats.org/officeDocument/2006/relationships/slideLayout" Target="../slideLayouts/slideLayout1099.xml"/><Relationship Id="rId360" Type="http://schemas.openxmlformats.org/officeDocument/2006/relationships/slideLayout" Target="../slideLayouts/slideLayout1250.xml"/><Relationship Id="rId416" Type="http://schemas.openxmlformats.org/officeDocument/2006/relationships/slideLayout" Target="../slideLayouts/slideLayout1306.xml"/><Relationship Id="rId598" Type="http://schemas.openxmlformats.org/officeDocument/2006/relationships/slideLayout" Target="../slideLayouts/slideLayout1488.xml"/><Relationship Id="rId220" Type="http://schemas.openxmlformats.org/officeDocument/2006/relationships/slideLayout" Target="../slideLayouts/slideLayout1110.xml"/><Relationship Id="rId458" Type="http://schemas.openxmlformats.org/officeDocument/2006/relationships/slideLayout" Target="../slideLayouts/slideLayout1348.xml"/><Relationship Id="rId623" Type="http://schemas.openxmlformats.org/officeDocument/2006/relationships/slideLayout" Target="../slideLayouts/slideLayout1513.xml"/><Relationship Id="rId665" Type="http://schemas.openxmlformats.org/officeDocument/2006/relationships/slideLayout" Target="../slideLayouts/slideLayout1555.xml"/><Relationship Id="rId15" Type="http://schemas.openxmlformats.org/officeDocument/2006/relationships/slideLayout" Target="../slideLayouts/slideLayout905.xml"/><Relationship Id="rId57" Type="http://schemas.openxmlformats.org/officeDocument/2006/relationships/slideLayout" Target="../slideLayouts/slideLayout947.xml"/><Relationship Id="rId262" Type="http://schemas.openxmlformats.org/officeDocument/2006/relationships/slideLayout" Target="../slideLayouts/slideLayout1152.xml"/><Relationship Id="rId318" Type="http://schemas.openxmlformats.org/officeDocument/2006/relationships/slideLayout" Target="../slideLayouts/slideLayout1208.xml"/><Relationship Id="rId525" Type="http://schemas.openxmlformats.org/officeDocument/2006/relationships/slideLayout" Target="../slideLayouts/slideLayout1415.xml"/><Relationship Id="rId567" Type="http://schemas.openxmlformats.org/officeDocument/2006/relationships/slideLayout" Target="../slideLayouts/slideLayout1457.xml"/><Relationship Id="rId99" Type="http://schemas.openxmlformats.org/officeDocument/2006/relationships/slideLayout" Target="../slideLayouts/slideLayout989.xml"/><Relationship Id="rId122" Type="http://schemas.openxmlformats.org/officeDocument/2006/relationships/slideLayout" Target="../slideLayouts/slideLayout1012.xml"/><Relationship Id="rId164" Type="http://schemas.openxmlformats.org/officeDocument/2006/relationships/slideLayout" Target="../slideLayouts/slideLayout1054.xml"/><Relationship Id="rId371" Type="http://schemas.openxmlformats.org/officeDocument/2006/relationships/slideLayout" Target="../slideLayouts/slideLayout1261.xml"/><Relationship Id="rId427" Type="http://schemas.openxmlformats.org/officeDocument/2006/relationships/slideLayout" Target="../slideLayouts/slideLayout1317.xml"/><Relationship Id="rId469" Type="http://schemas.openxmlformats.org/officeDocument/2006/relationships/slideLayout" Target="../slideLayouts/slideLayout1359.xml"/><Relationship Id="rId634" Type="http://schemas.openxmlformats.org/officeDocument/2006/relationships/slideLayout" Target="../slideLayouts/slideLayout1524.xml"/><Relationship Id="rId676" Type="http://schemas.openxmlformats.org/officeDocument/2006/relationships/slideLayout" Target="../slideLayouts/slideLayout1566.xml"/><Relationship Id="rId26" Type="http://schemas.openxmlformats.org/officeDocument/2006/relationships/slideLayout" Target="../slideLayouts/slideLayout916.xml"/><Relationship Id="rId231" Type="http://schemas.openxmlformats.org/officeDocument/2006/relationships/slideLayout" Target="../slideLayouts/slideLayout1121.xml"/><Relationship Id="rId273" Type="http://schemas.openxmlformats.org/officeDocument/2006/relationships/slideLayout" Target="../slideLayouts/slideLayout1163.xml"/><Relationship Id="rId329" Type="http://schemas.openxmlformats.org/officeDocument/2006/relationships/slideLayout" Target="../slideLayouts/slideLayout1219.xml"/><Relationship Id="rId480" Type="http://schemas.openxmlformats.org/officeDocument/2006/relationships/slideLayout" Target="../slideLayouts/slideLayout1370.xml"/><Relationship Id="rId536" Type="http://schemas.openxmlformats.org/officeDocument/2006/relationships/slideLayout" Target="../slideLayouts/slideLayout1426.xml"/><Relationship Id="rId68" Type="http://schemas.openxmlformats.org/officeDocument/2006/relationships/slideLayout" Target="../slideLayouts/slideLayout958.xml"/><Relationship Id="rId133" Type="http://schemas.openxmlformats.org/officeDocument/2006/relationships/slideLayout" Target="../slideLayouts/slideLayout1023.xml"/><Relationship Id="rId175" Type="http://schemas.openxmlformats.org/officeDocument/2006/relationships/slideLayout" Target="../slideLayouts/slideLayout1065.xml"/><Relationship Id="rId340" Type="http://schemas.openxmlformats.org/officeDocument/2006/relationships/slideLayout" Target="../slideLayouts/slideLayout1230.xml"/><Relationship Id="rId578" Type="http://schemas.openxmlformats.org/officeDocument/2006/relationships/slideLayout" Target="../slideLayouts/slideLayout1468.xml"/><Relationship Id="rId200" Type="http://schemas.openxmlformats.org/officeDocument/2006/relationships/slideLayout" Target="../slideLayouts/slideLayout1090.xml"/><Relationship Id="rId382" Type="http://schemas.openxmlformats.org/officeDocument/2006/relationships/slideLayout" Target="../slideLayouts/slideLayout1272.xml"/><Relationship Id="rId438" Type="http://schemas.openxmlformats.org/officeDocument/2006/relationships/slideLayout" Target="../slideLayouts/slideLayout1328.xml"/><Relationship Id="rId603" Type="http://schemas.openxmlformats.org/officeDocument/2006/relationships/slideLayout" Target="../slideLayouts/slideLayout1493.xml"/><Relationship Id="rId645" Type="http://schemas.openxmlformats.org/officeDocument/2006/relationships/slideLayout" Target="../slideLayouts/slideLayout1535.xml"/><Relationship Id="rId242" Type="http://schemas.openxmlformats.org/officeDocument/2006/relationships/slideLayout" Target="../slideLayouts/slideLayout1132.xml"/><Relationship Id="rId284" Type="http://schemas.openxmlformats.org/officeDocument/2006/relationships/slideLayout" Target="../slideLayouts/slideLayout1174.xml"/><Relationship Id="rId491" Type="http://schemas.openxmlformats.org/officeDocument/2006/relationships/slideLayout" Target="../slideLayouts/slideLayout1381.xml"/><Relationship Id="rId505" Type="http://schemas.openxmlformats.org/officeDocument/2006/relationships/slideLayout" Target="../slideLayouts/slideLayout1395.xml"/><Relationship Id="rId37" Type="http://schemas.openxmlformats.org/officeDocument/2006/relationships/slideLayout" Target="../slideLayouts/slideLayout927.xml"/><Relationship Id="rId79" Type="http://schemas.openxmlformats.org/officeDocument/2006/relationships/slideLayout" Target="../slideLayouts/slideLayout969.xml"/><Relationship Id="rId102" Type="http://schemas.openxmlformats.org/officeDocument/2006/relationships/slideLayout" Target="../slideLayouts/slideLayout992.xml"/><Relationship Id="rId144" Type="http://schemas.openxmlformats.org/officeDocument/2006/relationships/slideLayout" Target="../slideLayouts/slideLayout1034.xml"/><Relationship Id="rId547" Type="http://schemas.openxmlformats.org/officeDocument/2006/relationships/slideLayout" Target="../slideLayouts/slideLayout1437.xml"/><Relationship Id="rId589" Type="http://schemas.openxmlformats.org/officeDocument/2006/relationships/slideLayout" Target="../slideLayouts/slideLayout1479.xml"/><Relationship Id="rId90" Type="http://schemas.openxmlformats.org/officeDocument/2006/relationships/slideLayout" Target="../slideLayouts/slideLayout980.xml"/><Relationship Id="rId186" Type="http://schemas.openxmlformats.org/officeDocument/2006/relationships/slideLayout" Target="../slideLayouts/slideLayout1076.xml"/><Relationship Id="rId351" Type="http://schemas.openxmlformats.org/officeDocument/2006/relationships/slideLayout" Target="../slideLayouts/slideLayout1241.xml"/><Relationship Id="rId393" Type="http://schemas.openxmlformats.org/officeDocument/2006/relationships/slideLayout" Target="../slideLayouts/slideLayout1283.xml"/><Relationship Id="rId407" Type="http://schemas.openxmlformats.org/officeDocument/2006/relationships/slideLayout" Target="../slideLayouts/slideLayout1297.xml"/><Relationship Id="rId449" Type="http://schemas.openxmlformats.org/officeDocument/2006/relationships/slideLayout" Target="../slideLayouts/slideLayout1339.xml"/><Relationship Id="rId614" Type="http://schemas.openxmlformats.org/officeDocument/2006/relationships/slideLayout" Target="../slideLayouts/slideLayout1504.xml"/><Relationship Id="rId656" Type="http://schemas.openxmlformats.org/officeDocument/2006/relationships/slideLayout" Target="../slideLayouts/slideLayout1546.xml"/><Relationship Id="rId211" Type="http://schemas.openxmlformats.org/officeDocument/2006/relationships/slideLayout" Target="../slideLayouts/slideLayout1101.xml"/><Relationship Id="rId253" Type="http://schemas.openxmlformats.org/officeDocument/2006/relationships/slideLayout" Target="../slideLayouts/slideLayout1143.xml"/><Relationship Id="rId295" Type="http://schemas.openxmlformats.org/officeDocument/2006/relationships/slideLayout" Target="../slideLayouts/slideLayout1185.xml"/><Relationship Id="rId309" Type="http://schemas.openxmlformats.org/officeDocument/2006/relationships/slideLayout" Target="../slideLayouts/slideLayout1199.xml"/><Relationship Id="rId460" Type="http://schemas.openxmlformats.org/officeDocument/2006/relationships/slideLayout" Target="../slideLayouts/slideLayout1350.xml"/><Relationship Id="rId516" Type="http://schemas.openxmlformats.org/officeDocument/2006/relationships/slideLayout" Target="../slideLayouts/slideLayout1406.xml"/><Relationship Id="rId48" Type="http://schemas.openxmlformats.org/officeDocument/2006/relationships/slideLayout" Target="../slideLayouts/slideLayout938.xml"/><Relationship Id="rId113" Type="http://schemas.openxmlformats.org/officeDocument/2006/relationships/slideLayout" Target="../slideLayouts/slideLayout1003.xml"/><Relationship Id="rId320" Type="http://schemas.openxmlformats.org/officeDocument/2006/relationships/slideLayout" Target="../slideLayouts/slideLayout1210.xml"/><Relationship Id="rId558" Type="http://schemas.openxmlformats.org/officeDocument/2006/relationships/slideLayout" Target="../slideLayouts/slideLayout1448.xml"/><Relationship Id="rId155" Type="http://schemas.openxmlformats.org/officeDocument/2006/relationships/slideLayout" Target="../slideLayouts/slideLayout1045.xml"/><Relationship Id="rId197" Type="http://schemas.openxmlformats.org/officeDocument/2006/relationships/slideLayout" Target="../slideLayouts/slideLayout1087.xml"/><Relationship Id="rId362" Type="http://schemas.openxmlformats.org/officeDocument/2006/relationships/slideLayout" Target="../slideLayouts/slideLayout1252.xml"/><Relationship Id="rId418" Type="http://schemas.openxmlformats.org/officeDocument/2006/relationships/slideLayout" Target="../slideLayouts/slideLayout1308.xml"/><Relationship Id="rId625" Type="http://schemas.openxmlformats.org/officeDocument/2006/relationships/slideLayout" Target="../slideLayouts/slideLayout1515.xml"/><Relationship Id="rId222" Type="http://schemas.openxmlformats.org/officeDocument/2006/relationships/slideLayout" Target="../slideLayouts/slideLayout1112.xml"/><Relationship Id="rId264" Type="http://schemas.openxmlformats.org/officeDocument/2006/relationships/slideLayout" Target="../slideLayouts/slideLayout1154.xml"/><Relationship Id="rId471" Type="http://schemas.openxmlformats.org/officeDocument/2006/relationships/slideLayout" Target="../slideLayouts/slideLayout1361.xml"/><Relationship Id="rId667" Type="http://schemas.openxmlformats.org/officeDocument/2006/relationships/slideLayout" Target="../slideLayouts/slideLayout1557.xml"/><Relationship Id="rId17" Type="http://schemas.openxmlformats.org/officeDocument/2006/relationships/slideLayout" Target="../slideLayouts/slideLayout907.xml"/><Relationship Id="rId59" Type="http://schemas.openxmlformats.org/officeDocument/2006/relationships/slideLayout" Target="../slideLayouts/slideLayout949.xml"/><Relationship Id="rId124" Type="http://schemas.openxmlformats.org/officeDocument/2006/relationships/slideLayout" Target="../slideLayouts/slideLayout1014.xml"/><Relationship Id="rId527" Type="http://schemas.openxmlformats.org/officeDocument/2006/relationships/slideLayout" Target="../slideLayouts/slideLayout1417.xml"/><Relationship Id="rId569" Type="http://schemas.openxmlformats.org/officeDocument/2006/relationships/slideLayout" Target="../slideLayouts/slideLayout1459.xml"/><Relationship Id="rId70" Type="http://schemas.openxmlformats.org/officeDocument/2006/relationships/slideLayout" Target="../slideLayouts/slideLayout960.xml"/><Relationship Id="rId166" Type="http://schemas.openxmlformats.org/officeDocument/2006/relationships/slideLayout" Target="../slideLayouts/slideLayout1056.xml"/><Relationship Id="rId331" Type="http://schemas.openxmlformats.org/officeDocument/2006/relationships/slideLayout" Target="../slideLayouts/slideLayout1221.xml"/><Relationship Id="rId373" Type="http://schemas.openxmlformats.org/officeDocument/2006/relationships/slideLayout" Target="../slideLayouts/slideLayout1263.xml"/><Relationship Id="rId429" Type="http://schemas.openxmlformats.org/officeDocument/2006/relationships/slideLayout" Target="../slideLayouts/slideLayout1319.xml"/><Relationship Id="rId580" Type="http://schemas.openxmlformats.org/officeDocument/2006/relationships/slideLayout" Target="../slideLayouts/slideLayout1470.xml"/><Relationship Id="rId636" Type="http://schemas.openxmlformats.org/officeDocument/2006/relationships/slideLayout" Target="../slideLayouts/slideLayout1526.xml"/><Relationship Id="rId1" Type="http://schemas.openxmlformats.org/officeDocument/2006/relationships/slideLayout" Target="../slideLayouts/slideLayout891.xml"/><Relationship Id="rId233" Type="http://schemas.openxmlformats.org/officeDocument/2006/relationships/slideLayout" Target="../slideLayouts/slideLayout1123.xml"/><Relationship Id="rId440" Type="http://schemas.openxmlformats.org/officeDocument/2006/relationships/slideLayout" Target="../slideLayouts/slideLayout1330.xml"/><Relationship Id="rId678" Type="http://schemas.openxmlformats.org/officeDocument/2006/relationships/slideLayout" Target="../slideLayouts/slideLayout1568.xml"/><Relationship Id="rId28" Type="http://schemas.openxmlformats.org/officeDocument/2006/relationships/slideLayout" Target="../slideLayouts/slideLayout918.xml"/><Relationship Id="rId275" Type="http://schemas.openxmlformats.org/officeDocument/2006/relationships/slideLayout" Target="../slideLayouts/slideLayout1165.xml"/><Relationship Id="rId300" Type="http://schemas.openxmlformats.org/officeDocument/2006/relationships/slideLayout" Target="../slideLayouts/slideLayout1190.xml"/><Relationship Id="rId482" Type="http://schemas.openxmlformats.org/officeDocument/2006/relationships/slideLayout" Target="../slideLayouts/slideLayout1372.xml"/><Relationship Id="rId538" Type="http://schemas.openxmlformats.org/officeDocument/2006/relationships/slideLayout" Target="../slideLayouts/slideLayout1428.xml"/><Relationship Id="rId81" Type="http://schemas.openxmlformats.org/officeDocument/2006/relationships/slideLayout" Target="../slideLayouts/slideLayout971.xml"/><Relationship Id="rId135" Type="http://schemas.openxmlformats.org/officeDocument/2006/relationships/slideLayout" Target="../slideLayouts/slideLayout1025.xml"/><Relationship Id="rId177" Type="http://schemas.openxmlformats.org/officeDocument/2006/relationships/slideLayout" Target="../slideLayouts/slideLayout1067.xml"/><Relationship Id="rId342" Type="http://schemas.openxmlformats.org/officeDocument/2006/relationships/slideLayout" Target="../slideLayouts/slideLayout1232.xml"/><Relationship Id="rId384" Type="http://schemas.openxmlformats.org/officeDocument/2006/relationships/slideLayout" Target="../slideLayouts/slideLayout1274.xml"/><Relationship Id="rId591" Type="http://schemas.openxmlformats.org/officeDocument/2006/relationships/slideLayout" Target="../slideLayouts/slideLayout1481.xml"/><Relationship Id="rId605" Type="http://schemas.openxmlformats.org/officeDocument/2006/relationships/slideLayout" Target="../slideLayouts/slideLayout1495.xml"/><Relationship Id="rId202" Type="http://schemas.openxmlformats.org/officeDocument/2006/relationships/slideLayout" Target="../slideLayouts/slideLayout1092.xml"/><Relationship Id="rId244" Type="http://schemas.openxmlformats.org/officeDocument/2006/relationships/slideLayout" Target="../slideLayouts/slideLayout1134.xml"/><Relationship Id="rId647" Type="http://schemas.openxmlformats.org/officeDocument/2006/relationships/slideLayout" Target="../slideLayouts/slideLayout1537.xml"/><Relationship Id="rId39" Type="http://schemas.openxmlformats.org/officeDocument/2006/relationships/slideLayout" Target="../slideLayouts/slideLayout929.xml"/><Relationship Id="rId286" Type="http://schemas.openxmlformats.org/officeDocument/2006/relationships/slideLayout" Target="../slideLayouts/slideLayout1176.xml"/><Relationship Id="rId451" Type="http://schemas.openxmlformats.org/officeDocument/2006/relationships/slideLayout" Target="../slideLayouts/slideLayout1341.xml"/><Relationship Id="rId493" Type="http://schemas.openxmlformats.org/officeDocument/2006/relationships/slideLayout" Target="../slideLayouts/slideLayout1383.xml"/><Relationship Id="rId507" Type="http://schemas.openxmlformats.org/officeDocument/2006/relationships/slideLayout" Target="../slideLayouts/slideLayout1397.xml"/><Relationship Id="rId549" Type="http://schemas.openxmlformats.org/officeDocument/2006/relationships/slideLayout" Target="../slideLayouts/slideLayout1439.xml"/><Relationship Id="rId50" Type="http://schemas.openxmlformats.org/officeDocument/2006/relationships/slideLayout" Target="../slideLayouts/slideLayout940.xml"/><Relationship Id="rId104" Type="http://schemas.openxmlformats.org/officeDocument/2006/relationships/slideLayout" Target="../slideLayouts/slideLayout994.xml"/><Relationship Id="rId146" Type="http://schemas.openxmlformats.org/officeDocument/2006/relationships/slideLayout" Target="../slideLayouts/slideLayout1036.xml"/><Relationship Id="rId188" Type="http://schemas.openxmlformats.org/officeDocument/2006/relationships/slideLayout" Target="../slideLayouts/slideLayout1078.xml"/><Relationship Id="rId311" Type="http://schemas.openxmlformats.org/officeDocument/2006/relationships/slideLayout" Target="../slideLayouts/slideLayout1201.xml"/><Relationship Id="rId353" Type="http://schemas.openxmlformats.org/officeDocument/2006/relationships/slideLayout" Target="../slideLayouts/slideLayout1243.xml"/><Relationship Id="rId395" Type="http://schemas.openxmlformats.org/officeDocument/2006/relationships/slideLayout" Target="../slideLayouts/slideLayout1285.xml"/><Relationship Id="rId409" Type="http://schemas.openxmlformats.org/officeDocument/2006/relationships/slideLayout" Target="../slideLayouts/slideLayout1299.xml"/><Relationship Id="rId560" Type="http://schemas.openxmlformats.org/officeDocument/2006/relationships/slideLayout" Target="../slideLayouts/slideLayout1450.xml"/><Relationship Id="rId92" Type="http://schemas.openxmlformats.org/officeDocument/2006/relationships/slideLayout" Target="../slideLayouts/slideLayout982.xml"/><Relationship Id="rId213" Type="http://schemas.openxmlformats.org/officeDocument/2006/relationships/slideLayout" Target="../slideLayouts/slideLayout1103.xml"/><Relationship Id="rId420" Type="http://schemas.openxmlformats.org/officeDocument/2006/relationships/slideLayout" Target="../slideLayouts/slideLayout1310.xml"/><Relationship Id="rId616" Type="http://schemas.openxmlformats.org/officeDocument/2006/relationships/slideLayout" Target="../slideLayouts/slideLayout1506.xml"/><Relationship Id="rId658" Type="http://schemas.openxmlformats.org/officeDocument/2006/relationships/slideLayout" Target="../slideLayouts/slideLayout1548.xml"/><Relationship Id="rId255" Type="http://schemas.openxmlformats.org/officeDocument/2006/relationships/slideLayout" Target="../slideLayouts/slideLayout1145.xml"/><Relationship Id="rId297" Type="http://schemas.openxmlformats.org/officeDocument/2006/relationships/slideLayout" Target="../slideLayouts/slideLayout1187.xml"/><Relationship Id="rId462" Type="http://schemas.openxmlformats.org/officeDocument/2006/relationships/slideLayout" Target="../slideLayouts/slideLayout1352.xml"/><Relationship Id="rId518" Type="http://schemas.openxmlformats.org/officeDocument/2006/relationships/slideLayout" Target="../slideLayouts/slideLayout1408.xml"/><Relationship Id="rId115" Type="http://schemas.openxmlformats.org/officeDocument/2006/relationships/slideLayout" Target="../slideLayouts/slideLayout1005.xml"/><Relationship Id="rId157" Type="http://schemas.openxmlformats.org/officeDocument/2006/relationships/slideLayout" Target="../slideLayouts/slideLayout1047.xml"/><Relationship Id="rId322" Type="http://schemas.openxmlformats.org/officeDocument/2006/relationships/slideLayout" Target="../slideLayouts/slideLayout1212.xml"/><Relationship Id="rId364" Type="http://schemas.openxmlformats.org/officeDocument/2006/relationships/slideLayout" Target="../slideLayouts/slideLayout1254.xml"/><Relationship Id="rId61" Type="http://schemas.openxmlformats.org/officeDocument/2006/relationships/slideLayout" Target="../slideLayouts/slideLayout951.xml"/><Relationship Id="rId199" Type="http://schemas.openxmlformats.org/officeDocument/2006/relationships/slideLayout" Target="../slideLayouts/slideLayout1089.xml"/><Relationship Id="rId571" Type="http://schemas.openxmlformats.org/officeDocument/2006/relationships/slideLayout" Target="../slideLayouts/slideLayout1461.xml"/><Relationship Id="rId627" Type="http://schemas.openxmlformats.org/officeDocument/2006/relationships/slideLayout" Target="../slideLayouts/slideLayout1517.xml"/><Relationship Id="rId669" Type="http://schemas.openxmlformats.org/officeDocument/2006/relationships/slideLayout" Target="../slideLayouts/slideLayout1559.xml"/><Relationship Id="rId19" Type="http://schemas.openxmlformats.org/officeDocument/2006/relationships/slideLayout" Target="../slideLayouts/slideLayout909.xml"/><Relationship Id="rId224" Type="http://schemas.openxmlformats.org/officeDocument/2006/relationships/slideLayout" Target="../slideLayouts/slideLayout1114.xml"/><Relationship Id="rId266" Type="http://schemas.openxmlformats.org/officeDocument/2006/relationships/slideLayout" Target="../slideLayouts/slideLayout1156.xml"/><Relationship Id="rId431" Type="http://schemas.openxmlformats.org/officeDocument/2006/relationships/slideLayout" Target="../slideLayouts/slideLayout1321.xml"/><Relationship Id="rId473" Type="http://schemas.openxmlformats.org/officeDocument/2006/relationships/slideLayout" Target="../slideLayouts/slideLayout1363.xml"/><Relationship Id="rId529" Type="http://schemas.openxmlformats.org/officeDocument/2006/relationships/slideLayout" Target="../slideLayouts/slideLayout1419.xml"/><Relationship Id="rId680" Type="http://schemas.openxmlformats.org/officeDocument/2006/relationships/slideLayout" Target="../slideLayouts/slideLayout1570.xml"/><Relationship Id="rId30" Type="http://schemas.openxmlformats.org/officeDocument/2006/relationships/slideLayout" Target="../slideLayouts/slideLayout920.xml"/><Relationship Id="rId126" Type="http://schemas.openxmlformats.org/officeDocument/2006/relationships/slideLayout" Target="../slideLayouts/slideLayout1016.xml"/><Relationship Id="rId168" Type="http://schemas.openxmlformats.org/officeDocument/2006/relationships/slideLayout" Target="../slideLayouts/slideLayout1058.xml"/><Relationship Id="rId333" Type="http://schemas.openxmlformats.org/officeDocument/2006/relationships/slideLayout" Target="../slideLayouts/slideLayout1223.xml"/><Relationship Id="rId540" Type="http://schemas.openxmlformats.org/officeDocument/2006/relationships/slideLayout" Target="../slideLayouts/slideLayout1430.xml"/><Relationship Id="rId72" Type="http://schemas.openxmlformats.org/officeDocument/2006/relationships/slideLayout" Target="../slideLayouts/slideLayout962.xml"/><Relationship Id="rId375" Type="http://schemas.openxmlformats.org/officeDocument/2006/relationships/slideLayout" Target="../slideLayouts/slideLayout1265.xml"/><Relationship Id="rId582" Type="http://schemas.openxmlformats.org/officeDocument/2006/relationships/slideLayout" Target="../slideLayouts/slideLayout1472.xml"/><Relationship Id="rId638" Type="http://schemas.openxmlformats.org/officeDocument/2006/relationships/slideLayout" Target="../slideLayouts/slideLayout1528.xml"/><Relationship Id="rId3" Type="http://schemas.openxmlformats.org/officeDocument/2006/relationships/slideLayout" Target="../slideLayouts/slideLayout893.xml"/><Relationship Id="rId235" Type="http://schemas.openxmlformats.org/officeDocument/2006/relationships/slideLayout" Target="../slideLayouts/slideLayout1125.xml"/><Relationship Id="rId277" Type="http://schemas.openxmlformats.org/officeDocument/2006/relationships/slideLayout" Target="../slideLayouts/slideLayout1167.xml"/><Relationship Id="rId400" Type="http://schemas.openxmlformats.org/officeDocument/2006/relationships/slideLayout" Target="../slideLayouts/slideLayout1290.xml"/><Relationship Id="rId442" Type="http://schemas.openxmlformats.org/officeDocument/2006/relationships/slideLayout" Target="../slideLayouts/slideLayout1332.xml"/><Relationship Id="rId484" Type="http://schemas.openxmlformats.org/officeDocument/2006/relationships/slideLayout" Target="../slideLayouts/slideLayout1374.xml"/><Relationship Id="rId137" Type="http://schemas.openxmlformats.org/officeDocument/2006/relationships/slideLayout" Target="../slideLayouts/slideLayout1027.xml"/><Relationship Id="rId302" Type="http://schemas.openxmlformats.org/officeDocument/2006/relationships/slideLayout" Target="../slideLayouts/slideLayout1192.xml"/><Relationship Id="rId344" Type="http://schemas.openxmlformats.org/officeDocument/2006/relationships/slideLayout" Target="../slideLayouts/slideLayout1234.xml"/><Relationship Id="rId41" Type="http://schemas.openxmlformats.org/officeDocument/2006/relationships/slideLayout" Target="../slideLayouts/slideLayout931.xml"/><Relationship Id="rId83" Type="http://schemas.openxmlformats.org/officeDocument/2006/relationships/slideLayout" Target="../slideLayouts/slideLayout973.xml"/><Relationship Id="rId179" Type="http://schemas.openxmlformats.org/officeDocument/2006/relationships/slideLayout" Target="../slideLayouts/slideLayout1069.xml"/><Relationship Id="rId386" Type="http://schemas.openxmlformats.org/officeDocument/2006/relationships/slideLayout" Target="../slideLayouts/slideLayout1276.xml"/><Relationship Id="rId551" Type="http://schemas.openxmlformats.org/officeDocument/2006/relationships/slideLayout" Target="../slideLayouts/slideLayout1441.xml"/><Relationship Id="rId593" Type="http://schemas.openxmlformats.org/officeDocument/2006/relationships/slideLayout" Target="../slideLayouts/slideLayout1483.xml"/><Relationship Id="rId607" Type="http://schemas.openxmlformats.org/officeDocument/2006/relationships/slideLayout" Target="../slideLayouts/slideLayout1497.xml"/><Relationship Id="rId649" Type="http://schemas.openxmlformats.org/officeDocument/2006/relationships/slideLayout" Target="../slideLayouts/slideLayout1539.xml"/><Relationship Id="rId190" Type="http://schemas.openxmlformats.org/officeDocument/2006/relationships/slideLayout" Target="../slideLayouts/slideLayout1080.xml"/><Relationship Id="rId204" Type="http://schemas.openxmlformats.org/officeDocument/2006/relationships/slideLayout" Target="../slideLayouts/slideLayout1094.xml"/><Relationship Id="rId246" Type="http://schemas.openxmlformats.org/officeDocument/2006/relationships/slideLayout" Target="../slideLayouts/slideLayout1136.xml"/><Relationship Id="rId288" Type="http://schemas.openxmlformats.org/officeDocument/2006/relationships/slideLayout" Target="../slideLayouts/slideLayout1178.xml"/><Relationship Id="rId411" Type="http://schemas.openxmlformats.org/officeDocument/2006/relationships/slideLayout" Target="../slideLayouts/slideLayout1301.xml"/><Relationship Id="rId453" Type="http://schemas.openxmlformats.org/officeDocument/2006/relationships/slideLayout" Target="../slideLayouts/slideLayout1343.xml"/><Relationship Id="rId509" Type="http://schemas.openxmlformats.org/officeDocument/2006/relationships/slideLayout" Target="../slideLayouts/slideLayout1399.xml"/><Relationship Id="rId660" Type="http://schemas.openxmlformats.org/officeDocument/2006/relationships/slideLayout" Target="../slideLayouts/slideLayout1550.xml"/><Relationship Id="rId106" Type="http://schemas.openxmlformats.org/officeDocument/2006/relationships/slideLayout" Target="../slideLayouts/slideLayout996.xml"/><Relationship Id="rId313" Type="http://schemas.openxmlformats.org/officeDocument/2006/relationships/slideLayout" Target="../slideLayouts/slideLayout1203.xml"/><Relationship Id="rId495" Type="http://schemas.openxmlformats.org/officeDocument/2006/relationships/slideLayout" Target="../slideLayouts/slideLayout1385.xml"/><Relationship Id="rId10" Type="http://schemas.openxmlformats.org/officeDocument/2006/relationships/slideLayout" Target="../slideLayouts/slideLayout900.xml"/><Relationship Id="rId52" Type="http://schemas.openxmlformats.org/officeDocument/2006/relationships/slideLayout" Target="../slideLayouts/slideLayout942.xml"/><Relationship Id="rId94" Type="http://schemas.openxmlformats.org/officeDocument/2006/relationships/slideLayout" Target="../slideLayouts/slideLayout984.xml"/><Relationship Id="rId148" Type="http://schemas.openxmlformats.org/officeDocument/2006/relationships/slideLayout" Target="../slideLayouts/slideLayout1038.xml"/><Relationship Id="rId355" Type="http://schemas.openxmlformats.org/officeDocument/2006/relationships/slideLayout" Target="../slideLayouts/slideLayout1245.xml"/><Relationship Id="rId397" Type="http://schemas.openxmlformats.org/officeDocument/2006/relationships/slideLayout" Target="../slideLayouts/slideLayout1287.xml"/><Relationship Id="rId520" Type="http://schemas.openxmlformats.org/officeDocument/2006/relationships/slideLayout" Target="../slideLayouts/slideLayout1410.xml"/><Relationship Id="rId562" Type="http://schemas.openxmlformats.org/officeDocument/2006/relationships/slideLayout" Target="../slideLayouts/slideLayout1452.xml"/><Relationship Id="rId618" Type="http://schemas.openxmlformats.org/officeDocument/2006/relationships/slideLayout" Target="../slideLayouts/slideLayout1508.xml"/><Relationship Id="rId215" Type="http://schemas.openxmlformats.org/officeDocument/2006/relationships/slideLayout" Target="../slideLayouts/slideLayout1105.xml"/><Relationship Id="rId257" Type="http://schemas.openxmlformats.org/officeDocument/2006/relationships/slideLayout" Target="../slideLayouts/slideLayout1147.xml"/><Relationship Id="rId422" Type="http://schemas.openxmlformats.org/officeDocument/2006/relationships/slideLayout" Target="../slideLayouts/slideLayout1312.xml"/><Relationship Id="rId464" Type="http://schemas.openxmlformats.org/officeDocument/2006/relationships/slideLayout" Target="../slideLayouts/slideLayout1354.xml"/><Relationship Id="rId299" Type="http://schemas.openxmlformats.org/officeDocument/2006/relationships/slideLayout" Target="../slideLayouts/slideLayout1189.xml"/><Relationship Id="rId63" Type="http://schemas.openxmlformats.org/officeDocument/2006/relationships/slideLayout" Target="../slideLayouts/slideLayout953.xml"/><Relationship Id="rId159" Type="http://schemas.openxmlformats.org/officeDocument/2006/relationships/slideLayout" Target="../slideLayouts/slideLayout1049.xml"/><Relationship Id="rId366" Type="http://schemas.openxmlformats.org/officeDocument/2006/relationships/slideLayout" Target="../slideLayouts/slideLayout1256.xml"/><Relationship Id="rId573" Type="http://schemas.openxmlformats.org/officeDocument/2006/relationships/slideLayout" Target="../slideLayouts/slideLayout1463.xml"/><Relationship Id="rId226" Type="http://schemas.openxmlformats.org/officeDocument/2006/relationships/slideLayout" Target="../slideLayouts/slideLayout1116.xml"/><Relationship Id="rId433" Type="http://schemas.openxmlformats.org/officeDocument/2006/relationships/slideLayout" Target="../slideLayouts/slideLayout1323.xml"/><Relationship Id="rId640" Type="http://schemas.openxmlformats.org/officeDocument/2006/relationships/slideLayout" Target="../slideLayouts/slideLayout1530.xml"/><Relationship Id="rId74" Type="http://schemas.openxmlformats.org/officeDocument/2006/relationships/slideLayout" Target="../slideLayouts/slideLayout964.xml"/><Relationship Id="rId377" Type="http://schemas.openxmlformats.org/officeDocument/2006/relationships/slideLayout" Target="../slideLayouts/slideLayout1267.xml"/><Relationship Id="rId500" Type="http://schemas.openxmlformats.org/officeDocument/2006/relationships/slideLayout" Target="../slideLayouts/slideLayout1390.xml"/><Relationship Id="rId584" Type="http://schemas.openxmlformats.org/officeDocument/2006/relationships/slideLayout" Target="../slideLayouts/slideLayout1474.xml"/><Relationship Id="rId5" Type="http://schemas.openxmlformats.org/officeDocument/2006/relationships/slideLayout" Target="../slideLayouts/slideLayout895.xml"/><Relationship Id="rId237" Type="http://schemas.openxmlformats.org/officeDocument/2006/relationships/slideLayout" Target="../slideLayouts/slideLayout1127.xml"/><Relationship Id="rId444" Type="http://schemas.openxmlformats.org/officeDocument/2006/relationships/slideLayout" Target="../slideLayouts/slideLayout1334.xml"/><Relationship Id="rId651" Type="http://schemas.openxmlformats.org/officeDocument/2006/relationships/slideLayout" Target="../slideLayouts/slideLayout1541.xml"/><Relationship Id="rId290" Type="http://schemas.openxmlformats.org/officeDocument/2006/relationships/slideLayout" Target="../slideLayouts/slideLayout1180.xml"/><Relationship Id="rId304" Type="http://schemas.openxmlformats.org/officeDocument/2006/relationships/slideLayout" Target="../slideLayouts/slideLayout1194.xml"/><Relationship Id="rId388" Type="http://schemas.openxmlformats.org/officeDocument/2006/relationships/slideLayout" Target="../slideLayouts/slideLayout1278.xml"/><Relationship Id="rId511" Type="http://schemas.openxmlformats.org/officeDocument/2006/relationships/slideLayout" Target="../slideLayouts/slideLayout1401.xml"/><Relationship Id="rId609" Type="http://schemas.openxmlformats.org/officeDocument/2006/relationships/slideLayout" Target="../slideLayouts/slideLayout1499.xml"/><Relationship Id="rId85" Type="http://schemas.openxmlformats.org/officeDocument/2006/relationships/slideLayout" Target="../slideLayouts/slideLayout975.xml"/><Relationship Id="rId150" Type="http://schemas.openxmlformats.org/officeDocument/2006/relationships/slideLayout" Target="../slideLayouts/slideLayout1040.xml"/><Relationship Id="rId595" Type="http://schemas.openxmlformats.org/officeDocument/2006/relationships/slideLayout" Target="../slideLayouts/slideLayout1485.xml"/><Relationship Id="rId248" Type="http://schemas.openxmlformats.org/officeDocument/2006/relationships/slideLayout" Target="../slideLayouts/slideLayout1138.xml"/><Relationship Id="rId455" Type="http://schemas.openxmlformats.org/officeDocument/2006/relationships/slideLayout" Target="../slideLayouts/slideLayout1345.xml"/><Relationship Id="rId662" Type="http://schemas.openxmlformats.org/officeDocument/2006/relationships/slideLayout" Target="../slideLayouts/slideLayout1552.xml"/><Relationship Id="rId12" Type="http://schemas.openxmlformats.org/officeDocument/2006/relationships/slideLayout" Target="../slideLayouts/slideLayout902.xml"/><Relationship Id="rId108" Type="http://schemas.openxmlformats.org/officeDocument/2006/relationships/slideLayout" Target="../slideLayouts/slideLayout998.xml"/><Relationship Id="rId315" Type="http://schemas.openxmlformats.org/officeDocument/2006/relationships/slideLayout" Target="../slideLayouts/slideLayout1205.xml"/><Relationship Id="rId522" Type="http://schemas.openxmlformats.org/officeDocument/2006/relationships/slideLayout" Target="../slideLayouts/slideLayout1412.xml"/><Relationship Id="rId96" Type="http://schemas.openxmlformats.org/officeDocument/2006/relationships/slideLayout" Target="../slideLayouts/slideLayout986.xml"/><Relationship Id="rId161" Type="http://schemas.openxmlformats.org/officeDocument/2006/relationships/slideLayout" Target="../slideLayouts/slideLayout1051.xml"/><Relationship Id="rId399" Type="http://schemas.openxmlformats.org/officeDocument/2006/relationships/slideLayout" Target="../slideLayouts/slideLayout1289.xml"/><Relationship Id="rId259" Type="http://schemas.openxmlformats.org/officeDocument/2006/relationships/slideLayout" Target="../slideLayouts/slideLayout1149.xml"/><Relationship Id="rId466" Type="http://schemas.openxmlformats.org/officeDocument/2006/relationships/slideLayout" Target="../slideLayouts/slideLayout1356.xml"/><Relationship Id="rId673" Type="http://schemas.openxmlformats.org/officeDocument/2006/relationships/slideLayout" Target="../slideLayouts/slideLayout1563.xml"/><Relationship Id="rId23" Type="http://schemas.openxmlformats.org/officeDocument/2006/relationships/slideLayout" Target="../slideLayouts/slideLayout913.xml"/><Relationship Id="rId119" Type="http://schemas.openxmlformats.org/officeDocument/2006/relationships/slideLayout" Target="../slideLayouts/slideLayout1009.xml"/><Relationship Id="rId326" Type="http://schemas.openxmlformats.org/officeDocument/2006/relationships/slideLayout" Target="../slideLayouts/slideLayout1216.xml"/><Relationship Id="rId533" Type="http://schemas.openxmlformats.org/officeDocument/2006/relationships/slideLayout" Target="../slideLayouts/slideLayout1423.xml"/><Relationship Id="rId172" Type="http://schemas.openxmlformats.org/officeDocument/2006/relationships/slideLayout" Target="../slideLayouts/slideLayout1062.xml"/><Relationship Id="rId477" Type="http://schemas.openxmlformats.org/officeDocument/2006/relationships/slideLayout" Target="../slideLayouts/slideLayout1367.xml"/><Relationship Id="rId600" Type="http://schemas.openxmlformats.org/officeDocument/2006/relationships/slideLayout" Target="../slideLayouts/slideLayout1490.xml"/><Relationship Id="rId684" Type="http://schemas.openxmlformats.org/officeDocument/2006/relationships/slideLayout" Target="../slideLayouts/slideLayout1574.xml"/><Relationship Id="rId337" Type="http://schemas.openxmlformats.org/officeDocument/2006/relationships/slideLayout" Target="../slideLayouts/slideLayout1227.xml"/><Relationship Id="rId34" Type="http://schemas.openxmlformats.org/officeDocument/2006/relationships/slideLayout" Target="../slideLayouts/slideLayout924.xml"/><Relationship Id="rId544" Type="http://schemas.openxmlformats.org/officeDocument/2006/relationships/slideLayout" Target="../slideLayouts/slideLayout1434.xml"/><Relationship Id="rId183" Type="http://schemas.openxmlformats.org/officeDocument/2006/relationships/slideLayout" Target="../slideLayouts/slideLayout1073.xml"/><Relationship Id="rId390" Type="http://schemas.openxmlformats.org/officeDocument/2006/relationships/slideLayout" Target="../slideLayouts/slideLayout1280.xml"/><Relationship Id="rId404" Type="http://schemas.openxmlformats.org/officeDocument/2006/relationships/slideLayout" Target="../slideLayouts/slideLayout1294.xml"/><Relationship Id="rId611" Type="http://schemas.openxmlformats.org/officeDocument/2006/relationships/slideLayout" Target="../slideLayouts/slideLayout1501.xml"/><Relationship Id="rId250" Type="http://schemas.openxmlformats.org/officeDocument/2006/relationships/slideLayout" Target="../slideLayouts/slideLayout1140.xml"/><Relationship Id="rId488" Type="http://schemas.openxmlformats.org/officeDocument/2006/relationships/slideLayout" Target="../slideLayouts/slideLayout1378.xml"/><Relationship Id="rId45" Type="http://schemas.openxmlformats.org/officeDocument/2006/relationships/slideLayout" Target="../slideLayouts/slideLayout935.xml"/><Relationship Id="rId110" Type="http://schemas.openxmlformats.org/officeDocument/2006/relationships/slideLayout" Target="../slideLayouts/slideLayout1000.xml"/><Relationship Id="rId348" Type="http://schemas.openxmlformats.org/officeDocument/2006/relationships/slideLayout" Target="../slideLayouts/slideLayout1238.xml"/><Relationship Id="rId555" Type="http://schemas.openxmlformats.org/officeDocument/2006/relationships/slideLayout" Target="../slideLayouts/slideLayout1445.xml"/><Relationship Id="rId194" Type="http://schemas.openxmlformats.org/officeDocument/2006/relationships/slideLayout" Target="../slideLayouts/slideLayout1084.xml"/><Relationship Id="rId208" Type="http://schemas.openxmlformats.org/officeDocument/2006/relationships/slideLayout" Target="../slideLayouts/slideLayout1098.xml"/><Relationship Id="rId415" Type="http://schemas.openxmlformats.org/officeDocument/2006/relationships/slideLayout" Target="../slideLayouts/slideLayout1305.xml"/><Relationship Id="rId622" Type="http://schemas.openxmlformats.org/officeDocument/2006/relationships/slideLayout" Target="../slideLayouts/slideLayout1512.xml"/><Relationship Id="rId261" Type="http://schemas.openxmlformats.org/officeDocument/2006/relationships/slideLayout" Target="../slideLayouts/slideLayout1151.xml"/><Relationship Id="rId499" Type="http://schemas.openxmlformats.org/officeDocument/2006/relationships/slideLayout" Target="../slideLayouts/slideLayout1389.xml"/><Relationship Id="rId56" Type="http://schemas.openxmlformats.org/officeDocument/2006/relationships/slideLayout" Target="../slideLayouts/slideLayout946.xml"/><Relationship Id="rId359" Type="http://schemas.openxmlformats.org/officeDocument/2006/relationships/slideLayout" Target="../slideLayouts/slideLayout1249.xml"/><Relationship Id="rId566" Type="http://schemas.openxmlformats.org/officeDocument/2006/relationships/slideLayout" Target="../slideLayouts/slideLayout1456.xml"/><Relationship Id="rId121" Type="http://schemas.openxmlformats.org/officeDocument/2006/relationships/slideLayout" Target="../slideLayouts/slideLayout1011.xml"/><Relationship Id="rId219" Type="http://schemas.openxmlformats.org/officeDocument/2006/relationships/slideLayout" Target="../slideLayouts/slideLayout1109.xml"/><Relationship Id="rId426" Type="http://schemas.openxmlformats.org/officeDocument/2006/relationships/slideLayout" Target="../slideLayouts/slideLayout1316.xml"/><Relationship Id="rId633" Type="http://schemas.openxmlformats.org/officeDocument/2006/relationships/slideLayout" Target="../slideLayouts/slideLayout1523.xml"/><Relationship Id="rId67" Type="http://schemas.openxmlformats.org/officeDocument/2006/relationships/slideLayout" Target="../slideLayouts/slideLayout957.xml"/><Relationship Id="rId272" Type="http://schemas.openxmlformats.org/officeDocument/2006/relationships/slideLayout" Target="../slideLayouts/slideLayout1162.xml"/><Relationship Id="rId577" Type="http://schemas.openxmlformats.org/officeDocument/2006/relationships/slideLayout" Target="../slideLayouts/slideLayout1467.xml"/><Relationship Id="rId132" Type="http://schemas.openxmlformats.org/officeDocument/2006/relationships/slideLayout" Target="../slideLayouts/slideLayout1022.xml"/><Relationship Id="rId437" Type="http://schemas.openxmlformats.org/officeDocument/2006/relationships/slideLayout" Target="../slideLayouts/slideLayout1327.xml"/><Relationship Id="rId644" Type="http://schemas.openxmlformats.org/officeDocument/2006/relationships/slideLayout" Target="../slideLayouts/slideLayout1534.xml"/><Relationship Id="rId283" Type="http://schemas.openxmlformats.org/officeDocument/2006/relationships/slideLayout" Target="../slideLayouts/slideLayout1173.xml"/><Relationship Id="rId490" Type="http://schemas.openxmlformats.org/officeDocument/2006/relationships/slideLayout" Target="../slideLayouts/slideLayout1380.xml"/><Relationship Id="rId504" Type="http://schemas.openxmlformats.org/officeDocument/2006/relationships/slideLayout" Target="../slideLayouts/slideLayout1394.xml"/><Relationship Id="rId78" Type="http://schemas.openxmlformats.org/officeDocument/2006/relationships/slideLayout" Target="../slideLayouts/slideLayout968.xml"/><Relationship Id="rId143" Type="http://schemas.openxmlformats.org/officeDocument/2006/relationships/slideLayout" Target="../slideLayouts/slideLayout1033.xml"/><Relationship Id="rId350" Type="http://schemas.openxmlformats.org/officeDocument/2006/relationships/slideLayout" Target="../slideLayouts/slideLayout1240.xml"/><Relationship Id="rId588" Type="http://schemas.openxmlformats.org/officeDocument/2006/relationships/slideLayout" Target="../slideLayouts/slideLayout1478.xml"/><Relationship Id="rId9" Type="http://schemas.openxmlformats.org/officeDocument/2006/relationships/slideLayout" Target="../slideLayouts/slideLayout899.xml"/><Relationship Id="rId210" Type="http://schemas.openxmlformats.org/officeDocument/2006/relationships/slideLayout" Target="../slideLayouts/slideLayout1100.xml"/><Relationship Id="rId448" Type="http://schemas.openxmlformats.org/officeDocument/2006/relationships/slideLayout" Target="../slideLayouts/slideLayout1338.xml"/><Relationship Id="rId655" Type="http://schemas.openxmlformats.org/officeDocument/2006/relationships/slideLayout" Target="../slideLayouts/slideLayout1545.xml"/><Relationship Id="rId294" Type="http://schemas.openxmlformats.org/officeDocument/2006/relationships/slideLayout" Target="../slideLayouts/slideLayout1184.xml"/><Relationship Id="rId308" Type="http://schemas.openxmlformats.org/officeDocument/2006/relationships/slideLayout" Target="../slideLayouts/slideLayout1198.xml"/><Relationship Id="rId515" Type="http://schemas.openxmlformats.org/officeDocument/2006/relationships/slideLayout" Target="../slideLayouts/slideLayout1405.xml"/><Relationship Id="rId89" Type="http://schemas.openxmlformats.org/officeDocument/2006/relationships/slideLayout" Target="../slideLayouts/slideLayout979.xml"/><Relationship Id="rId154" Type="http://schemas.openxmlformats.org/officeDocument/2006/relationships/slideLayout" Target="../slideLayouts/slideLayout1044.xml"/><Relationship Id="rId361" Type="http://schemas.openxmlformats.org/officeDocument/2006/relationships/slideLayout" Target="../slideLayouts/slideLayout1251.xml"/><Relationship Id="rId599" Type="http://schemas.openxmlformats.org/officeDocument/2006/relationships/slideLayout" Target="../slideLayouts/slideLayout1489.xml"/><Relationship Id="rId459" Type="http://schemas.openxmlformats.org/officeDocument/2006/relationships/slideLayout" Target="../slideLayouts/slideLayout1349.xml"/><Relationship Id="rId666" Type="http://schemas.openxmlformats.org/officeDocument/2006/relationships/slideLayout" Target="../slideLayouts/slideLayout1556.xml"/><Relationship Id="rId16" Type="http://schemas.openxmlformats.org/officeDocument/2006/relationships/slideLayout" Target="../slideLayouts/slideLayout906.xml"/><Relationship Id="rId221" Type="http://schemas.openxmlformats.org/officeDocument/2006/relationships/slideLayout" Target="../slideLayouts/slideLayout1111.xml"/><Relationship Id="rId319" Type="http://schemas.openxmlformats.org/officeDocument/2006/relationships/slideLayout" Target="../slideLayouts/slideLayout1209.xml"/><Relationship Id="rId526" Type="http://schemas.openxmlformats.org/officeDocument/2006/relationships/slideLayout" Target="../slideLayouts/slideLayout1416.xml"/><Relationship Id="rId165" Type="http://schemas.openxmlformats.org/officeDocument/2006/relationships/slideLayout" Target="../slideLayouts/slideLayout1055.xml"/><Relationship Id="rId372" Type="http://schemas.openxmlformats.org/officeDocument/2006/relationships/slideLayout" Target="../slideLayouts/slideLayout1262.xml"/><Relationship Id="rId677" Type="http://schemas.openxmlformats.org/officeDocument/2006/relationships/slideLayout" Target="../slideLayouts/slideLayout1567.xml"/><Relationship Id="rId232" Type="http://schemas.openxmlformats.org/officeDocument/2006/relationships/slideLayout" Target="../slideLayouts/slideLayout1122.xml"/><Relationship Id="rId27" Type="http://schemas.openxmlformats.org/officeDocument/2006/relationships/slideLayout" Target="../slideLayouts/slideLayout917.xml"/><Relationship Id="rId537" Type="http://schemas.openxmlformats.org/officeDocument/2006/relationships/slideLayout" Target="../slideLayouts/slideLayout1427.xml"/><Relationship Id="rId80" Type="http://schemas.openxmlformats.org/officeDocument/2006/relationships/slideLayout" Target="../slideLayouts/slideLayout970.xml"/><Relationship Id="rId176" Type="http://schemas.openxmlformats.org/officeDocument/2006/relationships/slideLayout" Target="../slideLayouts/slideLayout1066.xml"/><Relationship Id="rId383" Type="http://schemas.openxmlformats.org/officeDocument/2006/relationships/slideLayout" Target="../slideLayouts/slideLayout1273.xml"/><Relationship Id="rId590" Type="http://schemas.openxmlformats.org/officeDocument/2006/relationships/slideLayout" Target="../slideLayouts/slideLayout1480.xml"/><Relationship Id="rId604" Type="http://schemas.openxmlformats.org/officeDocument/2006/relationships/slideLayout" Target="../slideLayouts/slideLayout1494.xml"/><Relationship Id="rId243" Type="http://schemas.openxmlformats.org/officeDocument/2006/relationships/slideLayout" Target="../slideLayouts/slideLayout1133.xml"/><Relationship Id="rId450" Type="http://schemas.openxmlformats.org/officeDocument/2006/relationships/slideLayout" Target="../slideLayouts/slideLayout1340.xml"/><Relationship Id="rId38" Type="http://schemas.openxmlformats.org/officeDocument/2006/relationships/slideLayout" Target="../slideLayouts/slideLayout928.xml"/><Relationship Id="rId103" Type="http://schemas.openxmlformats.org/officeDocument/2006/relationships/slideLayout" Target="../slideLayouts/slideLayout993.xml"/><Relationship Id="rId310" Type="http://schemas.openxmlformats.org/officeDocument/2006/relationships/slideLayout" Target="../slideLayouts/slideLayout1200.xml"/><Relationship Id="rId548" Type="http://schemas.openxmlformats.org/officeDocument/2006/relationships/slideLayout" Target="../slideLayouts/slideLayout1438.xml"/><Relationship Id="rId91" Type="http://schemas.openxmlformats.org/officeDocument/2006/relationships/slideLayout" Target="../slideLayouts/slideLayout981.xml"/><Relationship Id="rId187" Type="http://schemas.openxmlformats.org/officeDocument/2006/relationships/slideLayout" Target="../slideLayouts/slideLayout1077.xml"/><Relationship Id="rId394" Type="http://schemas.openxmlformats.org/officeDocument/2006/relationships/slideLayout" Target="../slideLayouts/slideLayout1284.xml"/><Relationship Id="rId408" Type="http://schemas.openxmlformats.org/officeDocument/2006/relationships/slideLayout" Target="../slideLayouts/slideLayout1298.xml"/><Relationship Id="rId615" Type="http://schemas.openxmlformats.org/officeDocument/2006/relationships/slideLayout" Target="../slideLayouts/slideLayout150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4" r:id="rId146"/>
    <p:sldLayoutId id="2147487095" r:id="rId147"/>
    <p:sldLayoutId id="2147487096" r:id="rId148"/>
    <p:sldLayoutId id="2147487097" r:id="rId149"/>
    <p:sldLayoutId id="2147487098" r:id="rId150"/>
    <p:sldLayoutId id="2147487099" r:id="rId151"/>
    <p:sldLayoutId id="2147487318" r:id="rId152"/>
    <p:sldLayoutId id="2147487319" r:id="rId153"/>
    <p:sldLayoutId id="2147487320" r:id="rId154"/>
    <p:sldLayoutId id="2147487100" r:id="rId155"/>
    <p:sldLayoutId id="2147487101" r:id="rId156"/>
    <p:sldLayoutId id="2147487102" r:id="rId157"/>
    <p:sldLayoutId id="2147487103" r:id="rId158"/>
    <p:sldLayoutId id="2147487104" r:id="rId159"/>
    <p:sldLayoutId id="2147487326" r:id="rId160"/>
    <p:sldLayoutId id="2147487105" r:id="rId161"/>
    <p:sldLayoutId id="2147487106" r:id="rId162"/>
    <p:sldLayoutId id="2147487107" r:id="rId163"/>
    <p:sldLayoutId id="2147487108" r:id="rId164"/>
    <p:sldLayoutId id="2147487109" r:id="rId165"/>
    <p:sldLayoutId id="2147487110" r:id="rId166"/>
    <p:sldLayoutId id="2147487111" r:id="rId167"/>
    <p:sldLayoutId id="2147487112" r:id="rId168"/>
    <p:sldLayoutId id="2147487113" r:id="rId169"/>
    <p:sldLayoutId id="2147487114" r:id="rId170"/>
    <p:sldLayoutId id="2147487115" r:id="rId171"/>
    <p:sldLayoutId id="2147487116" r:id="rId172"/>
    <p:sldLayoutId id="2147487117" r:id="rId173"/>
    <p:sldLayoutId id="2147487118" r:id="rId174"/>
    <p:sldLayoutId id="2147487119" r:id="rId175"/>
    <p:sldLayoutId id="2147487120" r:id="rId176"/>
    <p:sldLayoutId id="2147487121" r:id="rId177"/>
    <p:sldLayoutId id="2147487122" r:id="rId178"/>
    <p:sldLayoutId id="2147487123" r:id="rId179"/>
    <p:sldLayoutId id="2147487346" r:id="rId180"/>
    <p:sldLayoutId id="2147487124" r:id="rId181"/>
    <p:sldLayoutId id="2147487348" r:id="rId182"/>
    <p:sldLayoutId id="2147487349" r:id="rId183"/>
    <p:sldLayoutId id="2147483847" r:id="rId184"/>
    <p:sldLayoutId id="2147483848" r:id="rId185"/>
    <p:sldLayoutId id="2147483849" r:id="rId186"/>
    <p:sldLayoutId id="2147483850" r:id="rId187"/>
    <p:sldLayoutId id="2147483851" r:id="rId188"/>
    <p:sldLayoutId id="2147483852" r:id="rId189"/>
    <p:sldLayoutId id="2147483853" r:id="rId190"/>
    <p:sldLayoutId id="2147483854" r:id="rId191"/>
    <p:sldLayoutId id="2147483855" r:id="rId192"/>
    <p:sldLayoutId id="2147483856" r:id="rId193"/>
    <p:sldLayoutId id="2147483857" r:id="rId194"/>
    <p:sldLayoutId id="2147483858" r:id="rId195"/>
    <p:sldLayoutId id="2147483859" r:id="rId196"/>
    <p:sldLayoutId id="2147487005" r:id="rId197"/>
    <p:sldLayoutId id="2147483861" r:id="rId198"/>
    <p:sldLayoutId id="2147483862" r:id="rId199"/>
    <p:sldLayoutId id="2147483863" r:id="rId200"/>
    <p:sldLayoutId id="2147483864" r:id="rId201"/>
    <p:sldLayoutId id="2147483865" r:id="rId202"/>
    <p:sldLayoutId id="2147483866" r:id="rId203"/>
    <p:sldLayoutId id="2147483867" r:id="rId204"/>
    <p:sldLayoutId id="2147483868" r:id="rId205"/>
    <p:sldLayoutId id="2147483869" r:id="rId206"/>
    <p:sldLayoutId id="2147483870" r:id="rId207"/>
    <p:sldLayoutId id="2147483871" r:id="rId208"/>
    <p:sldLayoutId id="2147483872" r:id="rId209"/>
    <p:sldLayoutId id="2147483873" r:id="rId210"/>
    <p:sldLayoutId id="2147483874" r:id="rId211"/>
    <p:sldLayoutId id="2147483875" r:id="rId212"/>
    <p:sldLayoutId id="2147483876" r:id="rId213"/>
    <p:sldLayoutId id="2147483877" r:id="rId214"/>
    <p:sldLayoutId id="2147483878" r:id="rId215"/>
    <p:sldLayoutId id="2147483879" r:id="rId216"/>
    <p:sldLayoutId id="2147483880" r:id="rId217"/>
    <p:sldLayoutId id="2147483881" r:id="rId218"/>
    <p:sldLayoutId id="2147483882" r:id="rId219"/>
    <p:sldLayoutId id="2147483883" r:id="rId220"/>
    <p:sldLayoutId id="2147483884" r:id="rId221"/>
    <p:sldLayoutId id="2147483885" r:id="rId222"/>
    <p:sldLayoutId id="2147483886" r:id="rId223"/>
    <p:sldLayoutId id="2147483887" r:id="rId224"/>
    <p:sldLayoutId id="2147483888" r:id="rId225"/>
    <p:sldLayoutId id="2147483889" r:id="rId226"/>
    <p:sldLayoutId id="2147483890" r:id="rId227"/>
    <p:sldLayoutId id="2147483891" r:id="rId228"/>
    <p:sldLayoutId id="2147483892" r:id="rId229"/>
    <p:sldLayoutId id="2147483893" r:id="rId230"/>
    <p:sldLayoutId id="2147483894" r:id="rId231"/>
    <p:sldLayoutId id="2147483895" r:id="rId232"/>
    <p:sldLayoutId id="2147483896" r:id="rId233"/>
    <p:sldLayoutId id="2147483897" r:id="rId234"/>
    <p:sldLayoutId id="2147483898" r:id="rId235"/>
    <p:sldLayoutId id="2147483899" r:id="rId236"/>
    <p:sldLayoutId id="2147483900" r:id="rId237"/>
    <p:sldLayoutId id="2147483901" r:id="rId238"/>
    <p:sldLayoutId id="2147483902" r:id="rId239"/>
    <p:sldLayoutId id="2147483903" r:id="rId240"/>
    <p:sldLayoutId id="2147483904" r:id="rId241"/>
    <p:sldLayoutId id="2147483905" r:id="rId242"/>
    <p:sldLayoutId id="2147483906" r:id="rId243"/>
    <p:sldLayoutId id="2147483907" r:id="rId244"/>
    <p:sldLayoutId id="2147487126" r:id="rId245"/>
    <p:sldLayoutId id="2147487128" r:id="rId246"/>
    <p:sldLayoutId id="2147487129" r:id="rId247"/>
    <p:sldLayoutId id="2147487127" r:id="rId248"/>
    <p:sldLayoutId id="2147487131" r:id="rId249"/>
    <p:sldLayoutId id="2147487132" r:id="rId250"/>
    <p:sldLayoutId id="2147487133" r:id="rId251"/>
    <p:sldLayoutId id="2147487134" r:id="rId252"/>
    <p:sldLayoutId id="2147487135" r:id="rId253"/>
    <p:sldLayoutId id="2147487136" r:id="rId254"/>
    <p:sldLayoutId id="2147487137" r:id="rId255"/>
    <p:sldLayoutId id="2147487138" r:id="rId256"/>
    <p:sldLayoutId id="2147487139" r:id="rId257"/>
    <p:sldLayoutId id="2147487140" r:id="rId258"/>
    <p:sldLayoutId id="2147487141" r:id="rId259"/>
    <p:sldLayoutId id="2147487142" r:id="rId260"/>
    <p:sldLayoutId id="2147483925" r:id="rId261"/>
    <p:sldLayoutId id="2147483926" r:id="rId262"/>
    <p:sldLayoutId id="2147483927" r:id="rId263"/>
    <p:sldLayoutId id="2147483928" r:id="rId264"/>
    <p:sldLayoutId id="2147483929" r:id="rId265"/>
    <p:sldLayoutId id="2147483930" r:id="rId266"/>
    <p:sldLayoutId id="2147483931" r:id="rId267"/>
    <p:sldLayoutId id="2147483932" r:id="rId268"/>
    <p:sldLayoutId id="2147483933" r:id="rId269"/>
    <p:sldLayoutId id="2147483934" r:id="rId270"/>
    <p:sldLayoutId id="2147483935" r:id="rId271"/>
    <p:sldLayoutId id="2147483936" r:id="rId272"/>
    <p:sldLayoutId id="2147487130" r:id="rId273"/>
    <p:sldLayoutId id="2147483735" r:id="rId274"/>
    <p:sldLayoutId id="2147486987" r:id="rId275"/>
    <p:sldLayoutId id="2147487355" r:id="rId276"/>
    <p:sldLayoutId id="2147487369" r:id="rId277"/>
    <p:sldLayoutId id="2147487356" r:id="rId278"/>
    <p:sldLayoutId id="2147487357" r:id="rId279"/>
    <p:sldLayoutId id="2147487358" r:id="rId280"/>
    <p:sldLayoutId id="2147485074" r:id="rId281"/>
    <p:sldLayoutId id="2147485075" r:id="rId282"/>
    <p:sldLayoutId id="2147485076" r:id="rId283"/>
    <p:sldLayoutId id="2147485077" r:id="rId284"/>
    <p:sldLayoutId id="2147485078" r:id="rId285"/>
    <p:sldLayoutId id="2147484851" r:id="rId286"/>
    <p:sldLayoutId id="2147487362" r:id="rId287"/>
    <p:sldLayoutId id="2147487360" r:id="rId288"/>
    <p:sldLayoutId id="2147483736" r:id="rId289"/>
    <p:sldLayoutId id="2147487359" r:id="rId290"/>
    <p:sldLayoutId id="2147487361" r:id="rId291"/>
    <p:sldLayoutId id="2147483758" r:id="rId292"/>
    <p:sldLayoutId id="2147483759" r:id="rId293"/>
    <p:sldLayoutId id="2147483757" r:id="rId294"/>
    <p:sldLayoutId id="2147483764" r:id="rId295"/>
    <p:sldLayoutId id="2147483765" r:id="rId296"/>
    <p:sldLayoutId id="2147483766" r:id="rId297"/>
    <p:sldLayoutId id="2147487379" r:id="rId298"/>
    <p:sldLayoutId id="2147483739" r:id="rId299"/>
    <p:sldLayoutId id="2147483750" r:id="rId300"/>
    <p:sldLayoutId id="2147484627" r:id="rId301"/>
    <p:sldLayoutId id="2147485879" r:id="rId302"/>
    <p:sldLayoutId id="2147484838" r:id="rId303"/>
    <p:sldLayoutId id="2147485857" r:id="rId304"/>
    <p:sldLayoutId id="2147485858" r:id="rId305"/>
    <p:sldLayoutId id="2147485859" r:id="rId306"/>
    <p:sldLayoutId id="2147485860" r:id="rId307"/>
    <p:sldLayoutId id="2147485861" r:id="rId308"/>
    <p:sldLayoutId id="2147484634" r:id="rId309"/>
    <p:sldLayoutId id="2147484635" r:id="rId310"/>
    <p:sldLayoutId id="2147484238" r:id="rId311"/>
    <p:sldLayoutId id="2147486915" r:id="rId312"/>
    <p:sldLayoutId id="2147484840" r:id="rId313"/>
    <p:sldLayoutId id="2147486917" r:id="rId314"/>
    <p:sldLayoutId id="2147484203" r:id="rId315"/>
    <p:sldLayoutId id="2147484204" r:id="rId316"/>
    <p:sldLayoutId id="2147484205" r:id="rId317"/>
    <p:sldLayoutId id="2147484206" r:id="rId318"/>
    <p:sldLayoutId id="2147484237" r:id="rId319"/>
    <p:sldLayoutId id="2147484208" r:id="rId320"/>
    <p:sldLayoutId id="2147485064" r:id="rId321"/>
    <p:sldLayoutId id="2147485065" r:id="rId322"/>
    <p:sldLayoutId id="2147486965" r:id="rId323"/>
    <p:sldLayoutId id="2147485066" r:id="rId324"/>
    <p:sldLayoutId id="2147485067" r:id="rId325"/>
    <p:sldLayoutId id="2147485068" r:id="rId326"/>
    <p:sldLayoutId id="2147485069" r:id="rId327"/>
    <p:sldLayoutId id="2147485352" r:id="rId328"/>
    <p:sldLayoutId id="2147485070" r:id="rId329"/>
    <p:sldLayoutId id="2147486030" r:id="rId330"/>
    <p:sldLayoutId id="2147485071" r:id="rId331"/>
    <p:sldLayoutId id="2147487168" r:id="rId332"/>
    <p:sldLayoutId id="2147484626" r:id="rId333"/>
    <p:sldLayoutId id="2147484836" r:id="rId334"/>
    <p:sldLayoutId id="2147484837" r:id="rId335"/>
    <p:sldLayoutId id="2147487169" r:id="rId336"/>
    <p:sldLayoutId id="2147484602" r:id="rId337"/>
    <p:sldLayoutId id="2147484603" r:id="rId338"/>
    <p:sldLayoutId id="2147484604" r:id="rId339"/>
    <p:sldLayoutId id="2147484839" r:id="rId340"/>
    <p:sldLayoutId id="2147485847" r:id="rId341"/>
    <p:sldLayoutId id="2147485848" r:id="rId342"/>
    <p:sldLayoutId id="2147485849" r:id="rId343"/>
    <p:sldLayoutId id="2147485850" r:id="rId344"/>
    <p:sldLayoutId id="2147485851" r:id="rId345"/>
    <p:sldLayoutId id="2147485852" r:id="rId346"/>
    <p:sldLayoutId id="2147485853" r:id="rId347"/>
    <p:sldLayoutId id="2147485854" r:id="rId348"/>
    <p:sldLayoutId id="2147485855" r:id="rId349"/>
    <p:sldLayoutId id="2147485856" r:id="rId350"/>
    <p:sldLayoutId id="2147484384" r:id="rId351"/>
    <p:sldLayoutId id="2147485405" r:id="rId352"/>
    <p:sldLayoutId id="2147484559" r:id="rId353"/>
    <p:sldLayoutId id="2147484385" r:id="rId354"/>
    <p:sldLayoutId id="2147485406" r:id="rId355"/>
    <p:sldLayoutId id="2147484387" r:id="rId356"/>
    <p:sldLayoutId id="2147484388" r:id="rId357"/>
    <p:sldLayoutId id="2147484389" r:id="rId358"/>
    <p:sldLayoutId id="2147484390" r:id="rId359"/>
    <p:sldLayoutId id="2147484391" r:id="rId360"/>
    <p:sldLayoutId id="2147484392" r:id="rId361"/>
    <p:sldLayoutId id="2147486953" r:id="rId362"/>
    <p:sldLayoutId id="2147486205" r:id="rId363"/>
    <p:sldLayoutId id="2147486206" r:id="rId364"/>
    <p:sldLayoutId id="2147486207" r:id="rId365"/>
    <p:sldLayoutId id="2147486208" r:id="rId366"/>
    <p:sldLayoutId id="2147486209" r:id="rId367"/>
    <p:sldLayoutId id="2147484766" r:id="rId368"/>
    <p:sldLayoutId id="2147486426" r:id="rId369"/>
    <p:sldLayoutId id="2147486404" r:id="rId370"/>
    <p:sldLayoutId id="2147484767" r:id="rId371"/>
    <p:sldLayoutId id="2147486405" r:id="rId372"/>
    <p:sldLayoutId id="2147486406" r:id="rId373"/>
    <p:sldLayoutId id="2147486407" r:id="rId374"/>
    <p:sldLayoutId id="2147486408" r:id="rId375"/>
    <p:sldLayoutId id="2147486409" r:id="rId376"/>
    <p:sldLayoutId id="2147484768" r:id="rId377"/>
    <p:sldLayoutId id="2147486428" r:id="rId378"/>
    <p:sldLayoutId id="2147486200" r:id="rId379"/>
    <p:sldLayoutId id="2147486201" r:id="rId380"/>
    <p:sldLayoutId id="2147486202" r:id="rId381"/>
    <p:sldLayoutId id="2147486989" r:id="rId382"/>
    <p:sldLayoutId id="2147486203" r:id="rId383"/>
    <p:sldLayoutId id="2147484842" r:id="rId384"/>
    <p:sldLayoutId id="2147483743" r:id="rId385"/>
    <p:sldLayoutId id="2147487370" r:id="rId386"/>
    <p:sldLayoutId id="2147487371" r:id="rId387"/>
    <p:sldLayoutId id="2147483751" r:id="rId388"/>
    <p:sldLayoutId id="2147483760" r:id="rId389"/>
    <p:sldLayoutId id="2147487376" r:id="rId390"/>
    <p:sldLayoutId id="2147487377" r:id="rId391"/>
    <p:sldLayoutId id="2147487378" r:id="rId392"/>
    <p:sldLayoutId id="2147487372" r:id="rId393"/>
    <p:sldLayoutId id="2147487373" r:id="rId394"/>
    <p:sldLayoutId id="2147487374" r:id="rId395"/>
    <p:sldLayoutId id="2147485878" r:id="rId396"/>
    <p:sldLayoutId id="2147484654" r:id="rId397"/>
    <p:sldLayoutId id="2147484655" r:id="rId398"/>
    <p:sldLayoutId id="2147484608" r:id="rId399"/>
    <p:sldLayoutId id="2147485213" r:id="rId400"/>
    <p:sldLayoutId id="2147485214" r:id="rId401"/>
    <p:sldLayoutId id="2147485179" r:id="rId402"/>
    <p:sldLayoutId id="2147485354" r:id="rId403"/>
    <p:sldLayoutId id="2147486926" r:id="rId404"/>
    <p:sldLayoutId id="2147486360" r:id="rId405"/>
    <p:sldLayoutId id="2147485556" r:id="rId406"/>
    <p:sldLayoutId id="2147486361" r:id="rId407"/>
    <p:sldLayoutId id="2147487375" r:id="rId408"/>
    <p:sldLayoutId id="2147484335" r:id="rId409"/>
    <p:sldLayoutId id="2147484336" r:id="rId410"/>
    <p:sldLayoutId id="2147484337" r:id="rId411"/>
    <p:sldLayoutId id="2147484853" r:id="rId412"/>
    <p:sldLayoutId id="2147484339" r:id="rId413"/>
    <p:sldLayoutId id="2147484340" r:id="rId414"/>
    <p:sldLayoutId id="2147484341" r:id="rId415"/>
    <p:sldLayoutId id="2147484342" r:id="rId416"/>
    <p:sldLayoutId id="2147484343" r:id="rId417"/>
    <p:sldLayoutId id="2147484344" r:id="rId418"/>
    <p:sldLayoutId id="2147485468" r:id="rId419"/>
    <p:sldLayoutId id="2147485865" r:id="rId420"/>
    <p:sldLayoutId id="2147484364" r:id="rId421"/>
    <p:sldLayoutId id="2147485358" r:id="rId422"/>
    <p:sldLayoutId id="2147485868" r:id="rId423"/>
    <p:sldLayoutId id="2147485869" r:id="rId424"/>
    <p:sldLayoutId id="2147485870" r:id="rId425"/>
    <p:sldLayoutId id="2147485385" r:id="rId426"/>
    <p:sldLayoutId id="2147485871" r:id="rId427"/>
    <p:sldLayoutId id="2147485469" r:id="rId428"/>
    <p:sldLayoutId id="2147484570" r:id="rId429"/>
    <p:sldLayoutId id="2147484222" r:id="rId430"/>
    <p:sldLayoutId id="2147484854" r:id="rId431"/>
    <p:sldLayoutId id="2147484855" r:id="rId432"/>
    <p:sldLayoutId id="2147485079" r:id="rId433"/>
    <p:sldLayoutId id="2147485080" r:id="rId434"/>
    <p:sldLayoutId id="2147485081" r:id="rId435"/>
    <p:sldLayoutId id="2147485082" r:id="rId436"/>
    <p:sldLayoutId id="2147485083" r:id="rId437"/>
    <p:sldLayoutId id="2147484596" r:id="rId438"/>
    <p:sldLayoutId id="2147484835" r:id="rId439"/>
    <p:sldLayoutId id="2147484353" r:id="rId440"/>
    <p:sldLayoutId id="2147484852" r:id="rId441"/>
    <p:sldLayoutId id="2147487363" r:id="rId442"/>
    <p:sldLayoutId id="2147485093" r:id="rId443"/>
    <p:sldLayoutId id="2147486929" r:id="rId444"/>
    <p:sldLayoutId id="2147485072" r:id="rId445"/>
    <p:sldLayoutId id="2147485355" r:id="rId446"/>
    <p:sldLayoutId id="2147483726" r:id="rId447"/>
    <p:sldLayoutId id="2147487364" r:id="rId448"/>
    <p:sldLayoutId id="2147487365" r:id="rId449"/>
    <p:sldLayoutId id="2147487366" r:id="rId450"/>
    <p:sldLayoutId id="2147487367" r:id="rId451"/>
    <p:sldLayoutId id="2147483734" r:id="rId452"/>
    <p:sldLayoutId id="2147487368" r:id="rId453"/>
    <p:sldLayoutId id="2147484355" r:id="rId454"/>
    <p:sldLayoutId id="2147485444" r:id="rId455"/>
    <p:sldLayoutId id="2147484356" r:id="rId456"/>
    <p:sldLayoutId id="2147483860" r:id="rId457"/>
    <p:sldLayoutId id="2147486993" r:id="rId458"/>
    <p:sldLayoutId id="2147484357" r:id="rId459"/>
    <p:sldLayoutId id="2147484358" r:id="rId460"/>
    <p:sldLayoutId id="2147484359" r:id="rId461"/>
    <p:sldLayoutId id="2147484360" r:id="rId462"/>
    <p:sldLayoutId id="2147484361" r:id="rId463"/>
    <p:sldLayoutId id="2147484393" r:id="rId464"/>
    <p:sldLayoutId id="2147484394" r:id="rId465"/>
    <p:sldLayoutId id="2147483672" r:id="rId466"/>
    <p:sldLayoutId id="2147483673" r:id="rId467"/>
    <p:sldLayoutId id="2147486423" r:id="rId468"/>
    <p:sldLayoutId id="2147486950" r:id="rId469"/>
    <p:sldLayoutId id="2147484845" r:id="rId470"/>
    <p:sldLayoutId id="2147484846" r:id="rId471"/>
    <p:sldLayoutId id="2147484566" r:id="rId472"/>
    <p:sldLayoutId id="2147485470" r:id="rId473"/>
    <p:sldLayoutId id="2147484231" r:id="rId474"/>
    <p:sldLayoutId id="2147484268" r:id="rId475"/>
    <p:sldLayoutId id="2147484235" r:id="rId476"/>
    <p:sldLayoutId id="2147484847" r:id="rId477"/>
    <p:sldLayoutId id="2147484245" r:id="rId478"/>
    <p:sldLayoutId id="2147484262" r:id="rId479"/>
    <p:sldLayoutId id="2147486955" r:id="rId480"/>
    <p:sldLayoutId id="2147485238" r:id="rId481"/>
    <p:sldLayoutId id="2147486956" r:id="rId482"/>
    <p:sldLayoutId id="2147484233" r:id="rId483"/>
    <p:sldLayoutId id="2147486948" r:id="rId484"/>
    <p:sldLayoutId id="2147484774" r:id="rId485"/>
    <p:sldLayoutId id="2147484775" r:id="rId486"/>
    <p:sldLayoutId id="2147486425" r:id="rId487"/>
    <p:sldLayoutId id="2147484776" r:id="rId488"/>
    <p:sldLayoutId id="2147484777" r:id="rId489"/>
    <p:sldLayoutId id="2147486387" r:id="rId490"/>
    <p:sldLayoutId id="2147486389" r:id="rId491"/>
    <p:sldLayoutId id="2147486391" r:id="rId492"/>
    <p:sldLayoutId id="2147486949" r:id="rId493"/>
    <p:sldLayoutId id="2147486424" r:id="rId494"/>
    <p:sldLayoutId id="2147484821" r:id="rId495"/>
    <p:sldLayoutId id="2147486952" r:id="rId496"/>
    <p:sldLayoutId id="2147485239" r:id="rId497"/>
    <p:sldLayoutId id="2147484848" r:id="rId498"/>
    <p:sldLayoutId id="2147486048" r:id="rId499"/>
    <p:sldLayoutId id="2147486954" r:id="rId500"/>
    <p:sldLayoutId id="2147484400" r:id="rId501"/>
    <p:sldLayoutId id="2147484401" r:id="rId502"/>
    <p:sldLayoutId id="2147484402" r:id="rId503"/>
    <p:sldLayoutId id="2147484822" r:id="rId504"/>
    <p:sldLayoutId id="2147486251" r:id="rId505"/>
    <p:sldLayoutId id="2147484849" r:id="rId506"/>
    <p:sldLayoutId id="2147484850" r:id="rId507"/>
    <p:sldLayoutId id="2147487350" r:id="rId508"/>
    <p:sldLayoutId id="2147487351" r:id="rId509"/>
    <p:sldLayoutId id="2147486990" r:id="rId510"/>
    <p:sldLayoutId id="2147484585" r:id="rId511"/>
    <p:sldLayoutId id="2147484586" r:id="rId512"/>
    <p:sldLayoutId id="2147484587" r:id="rId513"/>
    <p:sldLayoutId id="2147484588" r:id="rId514"/>
    <p:sldLayoutId id="2147484592" r:id="rId515"/>
    <p:sldLayoutId id="2147484593" r:id="rId516"/>
    <p:sldLayoutId id="2147484594" r:id="rId517"/>
    <p:sldLayoutId id="2147487156" r:id="rId518"/>
    <p:sldLayoutId id="2147485370" r:id="rId519"/>
    <p:sldLayoutId id="2147485872" r:id="rId520"/>
    <p:sldLayoutId id="2147486927" r:id="rId521"/>
    <p:sldLayoutId id="2147485367" r:id="rId522"/>
    <p:sldLayoutId id="2147485368" r:id="rId523"/>
    <p:sldLayoutId id="2147485369" r:id="rId524"/>
    <p:sldLayoutId id="2147485400" r:id="rId525"/>
    <p:sldLayoutId id="2147485401" r:id="rId526"/>
    <p:sldLayoutId id="2147485402" r:id="rId527"/>
    <p:sldLayoutId id="2147485403" r:id="rId528"/>
    <p:sldLayoutId id="2147486221" r:id="rId529"/>
    <p:sldLayoutId id="2147483752" r:id="rId530"/>
    <p:sldLayoutId id="2147483753" r:id="rId531"/>
    <p:sldLayoutId id="2147483754" r:id="rId532"/>
    <p:sldLayoutId id="2147483755" r:id="rId533"/>
    <p:sldLayoutId id="2147484386" r:id="rId534"/>
    <p:sldLayoutId id="2147484815" r:id="rId535"/>
    <p:sldLayoutId id="2147484816" r:id="rId536"/>
    <p:sldLayoutId id="2147484817" r:id="rId537"/>
    <p:sldLayoutId id="2147484329" r:id="rId538"/>
    <p:sldLayoutId id="2147486396" r:id="rId539"/>
    <p:sldLayoutId id="2147486397" r:id="rId540"/>
    <p:sldLayoutId id="2147486418" r:id="rId541"/>
    <p:sldLayoutId id="2147484330" r:id="rId542"/>
    <p:sldLayoutId id="2147484331" r:id="rId543"/>
    <p:sldLayoutId id="2147484332" r:id="rId544"/>
    <p:sldLayoutId id="2147484485" r:id="rId545"/>
    <p:sldLayoutId id="2147484486" r:id="rId546"/>
    <p:sldLayoutId id="2147484609" r:id="rId547"/>
    <p:sldLayoutId id="2147484477" r:id="rId548"/>
    <p:sldLayoutId id="2147484478" r:id="rId549"/>
    <p:sldLayoutId id="2147484260" r:id="rId550"/>
    <p:sldLayoutId id="2147484856" r:id="rId551"/>
    <p:sldLayoutId id="2147484480" r:id="rId552"/>
    <p:sldLayoutId id="2147484267" r:id="rId553"/>
    <p:sldLayoutId id="2147484481" r:id="rId554"/>
    <p:sldLayoutId id="2147484482" r:id="rId555"/>
    <p:sldLayoutId id="2147484483" r:id="rId556"/>
    <p:sldLayoutId id="2147484484" r:id="rId557"/>
    <p:sldLayoutId id="2147485270" r:id="rId558"/>
    <p:sldLayoutId id="2147485271" r:id="rId559"/>
    <p:sldLayoutId id="2147485272" r:id="rId560"/>
    <p:sldLayoutId id="2147484857" r:id="rId561"/>
    <p:sldLayoutId id="2147485273" r:id="rId562"/>
    <p:sldLayoutId id="2147485274" r:id="rId563"/>
    <p:sldLayoutId id="2147485275" r:id="rId564"/>
    <p:sldLayoutId id="2147485276" r:id="rId565"/>
    <p:sldLayoutId id="2147485277" r:id="rId566"/>
    <p:sldLayoutId id="2147485278" r:id="rId567"/>
    <p:sldLayoutId id="2147486991" r:id="rId568"/>
    <p:sldLayoutId id="2147486992" r:id="rId569"/>
    <p:sldLayoutId id="2147486252" r:id="rId570"/>
    <p:sldLayoutId id="2147486253" r:id="rId571"/>
    <p:sldLayoutId id="2147486363" r:id="rId572"/>
    <p:sldLayoutId id="2147487006" r:id="rId573"/>
    <p:sldLayoutId id="2147486364" r:id="rId574"/>
    <p:sldLayoutId id="2147486365" r:id="rId575"/>
    <p:sldLayoutId id="2147487007" r:id="rId576"/>
    <p:sldLayoutId id="2147483940" r:id="rId577"/>
    <p:sldLayoutId id="2147486366" r:id="rId578"/>
    <p:sldLayoutId id="2147486367" r:id="rId579"/>
    <p:sldLayoutId id="2147486368" r:id="rId580"/>
    <p:sldLayoutId id="2147486369" r:id="rId581"/>
    <p:sldLayoutId id="2147483944" r:id="rId582"/>
    <p:sldLayoutId id="2147483945" r:id="rId583"/>
    <p:sldLayoutId id="2147483949" r:id="rId584"/>
    <p:sldLayoutId id="2147483953" r:id="rId585"/>
    <p:sldLayoutId id="2147483954" r:id="rId586"/>
    <p:sldLayoutId id="2147483955" r:id="rId587"/>
    <p:sldLayoutId id="2147483956" r:id="rId588"/>
    <p:sldLayoutId id="2147483957" r:id="rId589"/>
    <p:sldLayoutId id="2147483958" r:id="rId590"/>
    <p:sldLayoutId id="2147483959" r:id="rId591"/>
    <p:sldLayoutId id="2147483960" r:id="rId592"/>
    <p:sldLayoutId id="2147483961" r:id="rId593"/>
    <p:sldLayoutId id="2147483962" r:id="rId594"/>
    <p:sldLayoutId id="2147483963" r:id="rId595"/>
    <p:sldLayoutId id="2147483964" r:id="rId596"/>
    <p:sldLayoutId id="2147483965" r:id="rId597"/>
    <p:sldLayoutId id="2147483966" r:id="rId598"/>
    <p:sldLayoutId id="2147483967" r:id="rId599"/>
    <p:sldLayoutId id="2147483968" r:id="rId600"/>
    <p:sldLayoutId id="2147483969" r:id="rId601"/>
    <p:sldLayoutId id="2147483970" r:id="rId602"/>
    <p:sldLayoutId id="2147483971" r:id="rId603"/>
    <p:sldLayoutId id="2147483972" r:id="rId604"/>
    <p:sldLayoutId id="2147483973" r:id="rId605"/>
    <p:sldLayoutId id="2147483974" r:id="rId606"/>
    <p:sldLayoutId id="2147483975" r:id="rId607"/>
    <p:sldLayoutId id="2147483976" r:id="rId608"/>
    <p:sldLayoutId id="2147483977" r:id="rId609"/>
    <p:sldLayoutId id="2147483978" r:id="rId610"/>
    <p:sldLayoutId id="2147483979" r:id="rId611"/>
    <p:sldLayoutId id="2147483980" r:id="rId612"/>
    <p:sldLayoutId id="2147483981" r:id="rId613"/>
    <p:sldLayoutId id="2147483982" r:id="rId614"/>
    <p:sldLayoutId id="2147483983" r:id="rId615"/>
    <p:sldLayoutId id="2147483984" r:id="rId616"/>
    <p:sldLayoutId id="2147483985" r:id="rId617"/>
    <p:sldLayoutId id="2147483986" r:id="rId618"/>
    <p:sldLayoutId id="2147483987" r:id="rId619"/>
    <p:sldLayoutId id="2147483988" r:id="rId620"/>
    <p:sldLayoutId id="2147483989" r:id="rId621"/>
    <p:sldLayoutId id="2147483990" r:id="rId622"/>
    <p:sldLayoutId id="2147483991" r:id="rId623"/>
    <p:sldLayoutId id="2147483992" r:id="rId624"/>
    <p:sldLayoutId id="2147483993" r:id="rId625"/>
    <p:sldLayoutId id="2147483994" r:id="rId626"/>
    <p:sldLayoutId id="2147483995" r:id="rId627"/>
    <p:sldLayoutId id="2147483996" r:id="rId628"/>
    <p:sldLayoutId id="2147483997" r:id="rId629"/>
    <p:sldLayoutId id="2147483998" r:id="rId630"/>
    <p:sldLayoutId id="2147483999" r:id="rId631"/>
    <p:sldLayoutId id="2147484000" r:id="rId632"/>
    <p:sldLayoutId id="2147484001" r:id="rId633"/>
    <p:sldLayoutId id="2147484002" r:id="rId634"/>
    <p:sldLayoutId id="2147484003" r:id="rId635"/>
    <p:sldLayoutId id="2147484004" r:id="rId636"/>
    <p:sldLayoutId id="2147484652" r:id="rId637"/>
    <p:sldLayoutId id="2147484653" r:id="rId638"/>
    <p:sldLayoutId id="2147487008" r:id="rId639"/>
    <p:sldLayoutId id="2147487009" r:id="rId640"/>
    <p:sldLayoutId id="2147487010" r:id="rId641"/>
    <p:sldLayoutId id="2147487011" r:id="rId642"/>
    <p:sldLayoutId id="2147487012" r:id="rId643"/>
    <p:sldLayoutId id="2147487013" r:id="rId644"/>
    <p:sldLayoutId id="2147484999" r:id="rId645"/>
    <p:sldLayoutId id="2147485000" r:id="rId646"/>
    <p:sldLayoutId id="2147485001" r:id="rId647"/>
    <p:sldLayoutId id="2147485002" r:id="rId648"/>
    <p:sldLayoutId id="2147485006" r:id="rId649"/>
    <p:sldLayoutId id="2147485007" r:id="rId650"/>
    <p:sldLayoutId id="2147485008" r:id="rId651"/>
    <p:sldLayoutId id="2147485877" r:id="rId652"/>
    <p:sldLayoutId id="2147486419" r:id="rId653"/>
    <p:sldLayoutId id="2147486079" r:id="rId654"/>
    <p:sldLayoutId id="2147487352" r:id="rId655"/>
    <p:sldLayoutId id="2147483677" r:id="rId656"/>
    <p:sldLayoutId id="2147487353" r:id="rId657"/>
    <p:sldLayoutId id="2147487354" r:id="rId658"/>
    <p:sldLayoutId id="2147485215" r:id="rId659"/>
    <p:sldLayoutId id="2147485425" r:id="rId660"/>
    <p:sldLayoutId id="2147485903" r:id="rId661"/>
    <p:sldLayoutId id="2147485904" r:id="rId662"/>
    <p:sldLayoutId id="2147484354" r:id="rId663"/>
    <p:sldLayoutId id="2147484572" r:id="rId664"/>
    <p:sldLayoutId id="2147485391" r:id="rId665"/>
    <p:sldLayoutId id="2147485392" r:id="rId666"/>
    <p:sldLayoutId id="2147484376" r:id="rId667"/>
    <p:sldLayoutId id="2147485905" r:id="rId668"/>
    <p:sldLayoutId id="2147485906" r:id="rId669"/>
    <p:sldLayoutId id="2147485880" r:id="rId670"/>
    <p:sldLayoutId id="2147485393" r:id="rId671"/>
    <p:sldLayoutId id="2147485394" r:id="rId672"/>
    <p:sldLayoutId id="2147485395" r:id="rId673"/>
    <p:sldLayoutId id="2147486284" r:id="rId674"/>
    <p:sldLayoutId id="2147484378" r:id="rId675"/>
    <p:sldLayoutId id="2147484379" r:id="rId676"/>
    <p:sldLayoutId id="2147485396" r:id="rId677"/>
    <p:sldLayoutId id="2147486222" r:id="rId678"/>
    <p:sldLayoutId id="2147486223" r:id="rId679"/>
    <p:sldLayoutId id="2147486224" r:id="rId680"/>
    <p:sldLayoutId id="2147488079" r:id="rId681"/>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2/7/2023</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3676" r:id="rId28"/>
    <p:sldLayoutId id="2147487181" r:id="rId29"/>
    <p:sldLayoutId id="2147483678" r:id="rId30"/>
    <p:sldLayoutId id="2147483679" r:id="rId31"/>
    <p:sldLayoutId id="2147487380" r:id="rId32"/>
    <p:sldLayoutId id="21474873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3741" r:id="rId93"/>
    <p:sldLayoutId id="2147483742" r:id="rId94"/>
    <p:sldLayoutId id="2147487247" r:id="rId95"/>
    <p:sldLayoutId id="2147483744" r:id="rId96"/>
    <p:sldLayoutId id="2147483745" r:id="rId97"/>
    <p:sldLayoutId id="2147483746" r:id="rId98"/>
    <p:sldLayoutId id="2147483747" r:id="rId99"/>
    <p:sldLayoutId id="2147483748" r:id="rId100"/>
    <p:sldLayoutId id="2147483749"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3761" r:id="rId113"/>
    <p:sldLayoutId id="2147483762" r:id="rId114"/>
    <p:sldLayoutId id="2147483763" r:id="rId115"/>
    <p:sldLayoutId id="2147487267" r:id="rId116"/>
    <p:sldLayoutId id="2147487268" r:id="rId117"/>
    <p:sldLayoutId id="2147487269"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57" r:id="rId72"/>
    <p:sldLayoutId id="2147487458" r:id="rId73"/>
    <p:sldLayoutId id="2147487459" r:id="rId74"/>
    <p:sldLayoutId id="2147487460" r:id="rId75"/>
    <p:sldLayoutId id="2147487461" r:id="rId76"/>
    <p:sldLayoutId id="2147487462" r:id="rId77"/>
    <p:sldLayoutId id="2147487463" r:id="rId78"/>
    <p:sldLayoutId id="2147487464" r:id="rId79"/>
    <p:sldLayoutId id="2147487465" r:id="rId80"/>
    <p:sldLayoutId id="2147487466" r:id="rId81"/>
    <p:sldLayoutId id="2147487467" r:id="rId82"/>
    <p:sldLayoutId id="2147487468" r:id="rId83"/>
    <p:sldLayoutId id="2147487469" r:id="rId84"/>
    <p:sldLayoutId id="2147487470" r:id="rId85"/>
    <p:sldLayoutId id="2147487471" r:id="rId86"/>
    <p:sldLayoutId id="2147487472" r:id="rId87"/>
    <p:sldLayoutId id="2147487473" r:id="rId88"/>
    <p:sldLayoutId id="2147487474" r:id="rId89"/>
    <p:sldLayoutId id="2147487475" r:id="rId90"/>
    <p:sldLayoutId id="2147487476" r:id="rId91"/>
    <p:sldLayoutId id="2147487477" r:id="rId92"/>
    <p:sldLayoutId id="2147487478" r:id="rId93"/>
    <p:sldLayoutId id="2147487479" r:id="rId94"/>
    <p:sldLayoutId id="2147487480" r:id="rId95"/>
    <p:sldLayoutId id="2147487481" r:id="rId96"/>
    <p:sldLayoutId id="2147487482" r:id="rId97"/>
    <p:sldLayoutId id="2147487483" r:id="rId98"/>
    <p:sldLayoutId id="2147487484" r:id="rId99"/>
    <p:sldLayoutId id="2147487485" r:id="rId100"/>
    <p:sldLayoutId id="2147487486" r:id="rId101"/>
    <p:sldLayoutId id="2147487487" r:id="rId102"/>
    <p:sldLayoutId id="2147487488" r:id="rId103"/>
    <p:sldLayoutId id="2147487489" r:id="rId104"/>
    <p:sldLayoutId id="2147487490" r:id="rId105"/>
    <p:sldLayoutId id="2147487491" r:id="rId106"/>
    <p:sldLayoutId id="2147487492" r:id="rId107"/>
    <p:sldLayoutId id="2147487493" r:id="rId108"/>
    <p:sldLayoutId id="2147487494" r:id="rId109"/>
    <p:sldLayoutId id="2147487495" r:id="rId110"/>
    <p:sldLayoutId id="2147487496" r:id="rId111"/>
    <p:sldLayoutId id="2147487497" r:id="rId112"/>
    <p:sldLayoutId id="2147487498" r:id="rId113"/>
    <p:sldLayoutId id="2147487499" r:id="rId114"/>
    <p:sldLayoutId id="2147487500" r:id="rId115"/>
    <p:sldLayoutId id="2147487501" r:id="rId116"/>
    <p:sldLayoutId id="2147487502" r:id="rId117"/>
    <p:sldLayoutId id="2147487503" r:id="rId118"/>
    <p:sldLayoutId id="2147487504" r:id="rId119"/>
    <p:sldLayoutId id="2147487505" r:id="rId120"/>
    <p:sldLayoutId id="2147487506" r:id="rId121"/>
    <p:sldLayoutId id="2147487507" r:id="rId122"/>
    <p:sldLayoutId id="2147487508" r:id="rId123"/>
    <p:sldLayoutId id="2147487509" r:id="rId124"/>
    <p:sldLayoutId id="2147487510" r:id="rId125"/>
    <p:sldLayoutId id="2147487511" r:id="rId126"/>
    <p:sldLayoutId id="2147487512" r:id="rId127"/>
    <p:sldLayoutId id="2147487513" r:id="rId128"/>
    <p:sldLayoutId id="2147487514" r:id="rId129"/>
    <p:sldLayoutId id="2147487515" r:id="rId130"/>
    <p:sldLayoutId id="2147487516" r:id="rId131"/>
    <p:sldLayoutId id="2147487517" r:id="rId132"/>
    <p:sldLayoutId id="2147487518" r:id="rId133"/>
    <p:sldLayoutId id="2147487519" r:id="rId134"/>
    <p:sldLayoutId id="2147487520" r:id="rId135"/>
    <p:sldLayoutId id="2147487521" r:id="rId136"/>
    <p:sldLayoutId id="2147487522" r:id="rId137"/>
    <p:sldLayoutId id="2147487523" r:id="rId138"/>
    <p:sldLayoutId id="2147487524" r:id="rId139"/>
    <p:sldLayoutId id="2147487525" r:id="rId140"/>
    <p:sldLayoutId id="2147487526" r:id="rId141"/>
    <p:sldLayoutId id="2147487527" r:id="rId142"/>
    <p:sldLayoutId id="2147487528" r:id="rId143"/>
    <p:sldLayoutId id="2147487529" r:id="rId144"/>
    <p:sldLayoutId id="2147487530" r:id="rId145"/>
    <p:sldLayoutId id="2147487531" r:id="rId146"/>
    <p:sldLayoutId id="2147487532" r:id="rId147"/>
    <p:sldLayoutId id="2147487533" r:id="rId148"/>
    <p:sldLayoutId id="2147487534" r:id="rId149"/>
    <p:sldLayoutId id="2147487535" r:id="rId150"/>
    <p:sldLayoutId id="2147487536" r:id="rId151"/>
    <p:sldLayoutId id="2147487537" r:id="rId152"/>
    <p:sldLayoutId id="2147487538" r:id="rId153"/>
    <p:sldLayoutId id="2147487539" r:id="rId154"/>
    <p:sldLayoutId id="2147487540" r:id="rId155"/>
    <p:sldLayoutId id="2147487541" r:id="rId156"/>
    <p:sldLayoutId id="2147487542" r:id="rId157"/>
    <p:sldLayoutId id="2147487543" r:id="rId158"/>
    <p:sldLayoutId id="2147487544" r:id="rId159"/>
    <p:sldLayoutId id="2147487545" r:id="rId160"/>
    <p:sldLayoutId id="2147487546" r:id="rId161"/>
    <p:sldLayoutId id="2147487547" r:id="rId162"/>
    <p:sldLayoutId id="2147487548" r:id="rId163"/>
    <p:sldLayoutId id="2147487549" r:id="rId164"/>
    <p:sldLayoutId id="2147487550" r:id="rId165"/>
    <p:sldLayoutId id="2147487551" r:id="rId166"/>
    <p:sldLayoutId id="2147487552" r:id="rId167"/>
    <p:sldLayoutId id="2147487553" r:id="rId168"/>
    <p:sldLayoutId id="2147487554" r:id="rId169"/>
    <p:sldLayoutId id="2147487555" r:id="rId170"/>
    <p:sldLayoutId id="2147487556" r:id="rId171"/>
    <p:sldLayoutId id="2147487557" r:id="rId172"/>
    <p:sldLayoutId id="2147487558" r:id="rId173"/>
    <p:sldLayoutId id="2147487559" r:id="rId174"/>
    <p:sldLayoutId id="2147487560" r:id="rId175"/>
    <p:sldLayoutId id="2147487561" r:id="rId176"/>
    <p:sldLayoutId id="2147487562" r:id="rId177"/>
    <p:sldLayoutId id="2147487563" r:id="rId178"/>
    <p:sldLayoutId id="2147487564" r:id="rId179"/>
    <p:sldLayoutId id="2147487565" r:id="rId180"/>
    <p:sldLayoutId id="2147487566" r:id="rId181"/>
    <p:sldLayoutId id="2147487567" r:id="rId182"/>
    <p:sldLayoutId id="2147487568" r:id="rId183"/>
    <p:sldLayoutId id="2147487569" r:id="rId184"/>
    <p:sldLayoutId id="2147487570" r:id="rId185"/>
    <p:sldLayoutId id="2147487571" r:id="rId186"/>
    <p:sldLayoutId id="2147487572" r:id="rId187"/>
    <p:sldLayoutId id="2147487573" r:id="rId188"/>
    <p:sldLayoutId id="2147487574" r:id="rId189"/>
    <p:sldLayoutId id="2147487575" r:id="rId190"/>
    <p:sldLayoutId id="2147487576" r:id="rId191"/>
    <p:sldLayoutId id="2147487577" r:id="rId192"/>
    <p:sldLayoutId id="2147487578" r:id="rId193"/>
    <p:sldLayoutId id="2147487579" r:id="rId194"/>
    <p:sldLayoutId id="2147487580" r:id="rId195"/>
    <p:sldLayoutId id="2147487581" r:id="rId196"/>
    <p:sldLayoutId id="2147487582" r:id="rId197"/>
    <p:sldLayoutId id="2147487583" r:id="rId198"/>
    <p:sldLayoutId id="2147487584" r:id="rId199"/>
    <p:sldLayoutId id="2147487585" r:id="rId200"/>
    <p:sldLayoutId id="2147487586" r:id="rId201"/>
    <p:sldLayoutId id="2147487587" r:id="rId202"/>
    <p:sldLayoutId id="2147487588" r:id="rId203"/>
    <p:sldLayoutId id="2147487589" r:id="rId204"/>
    <p:sldLayoutId id="2147487590" r:id="rId205"/>
    <p:sldLayoutId id="2147487591" r:id="rId206"/>
    <p:sldLayoutId id="2147487592" r:id="rId207"/>
    <p:sldLayoutId id="2147487593" r:id="rId208"/>
    <p:sldLayoutId id="2147487594" r:id="rId209"/>
    <p:sldLayoutId id="2147487595" r:id="rId210"/>
    <p:sldLayoutId id="2147487596" r:id="rId211"/>
    <p:sldLayoutId id="2147487597" r:id="rId212"/>
    <p:sldLayoutId id="2147487598" r:id="rId213"/>
    <p:sldLayoutId id="2147487599" r:id="rId214"/>
    <p:sldLayoutId id="2147487600" r:id="rId215"/>
    <p:sldLayoutId id="2147487601" r:id="rId216"/>
    <p:sldLayoutId id="2147487602" r:id="rId217"/>
    <p:sldLayoutId id="2147487603" r:id="rId218"/>
    <p:sldLayoutId id="2147487604" r:id="rId219"/>
    <p:sldLayoutId id="2147487605" r:id="rId220"/>
    <p:sldLayoutId id="2147487606" r:id="rId221"/>
    <p:sldLayoutId id="2147487607" r:id="rId222"/>
    <p:sldLayoutId id="2147487608" r:id="rId223"/>
    <p:sldLayoutId id="2147487609" r:id="rId224"/>
    <p:sldLayoutId id="2147487610" r:id="rId225"/>
    <p:sldLayoutId id="2147487611" r:id="rId226"/>
    <p:sldLayoutId id="2147487612" r:id="rId227"/>
    <p:sldLayoutId id="2147487613" r:id="rId228"/>
    <p:sldLayoutId id="2147487614" r:id="rId229"/>
    <p:sldLayoutId id="2147487615" r:id="rId230"/>
    <p:sldLayoutId id="2147487616" r:id="rId231"/>
    <p:sldLayoutId id="2147487617" r:id="rId232"/>
    <p:sldLayoutId id="2147487618" r:id="rId233"/>
    <p:sldLayoutId id="2147487619" r:id="rId234"/>
    <p:sldLayoutId id="2147487620" r:id="rId235"/>
    <p:sldLayoutId id="2147487621" r:id="rId236"/>
    <p:sldLayoutId id="2147487622" r:id="rId237"/>
    <p:sldLayoutId id="2147487623" r:id="rId238"/>
    <p:sldLayoutId id="2147487624" r:id="rId239"/>
    <p:sldLayoutId id="2147487625" r:id="rId240"/>
    <p:sldLayoutId id="2147487626" r:id="rId241"/>
    <p:sldLayoutId id="2147487627" r:id="rId242"/>
    <p:sldLayoutId id="2147487628" r:id="rId243"/>
    <p:sldLayoutId id="2147487629" r:id="rId244"/>
    <p:sldLayoutId id="2147487630" r:id="rId245"/>
    <p:sldLayoutId id="2147487631" r:id="rId246"/>
    <p:sldLayoutId id="2147487632" r:id="rId247"/>
    <p:sldLayoutId id="2147487633" r:id="rId248"/>
    <p:sldLayoutId id="2147487634" r:id="rId249"/>
    <p:sldLayoutId id="2147487635" r:id="rId250"/>
    <p:sldLayoutId id="2147487636" r:id="rId251"/>
    <p:sldLayoutId id="2147487637" r:id="rId252"/>
    <p:sldLayoutId id="2147487638" r:id="rId253"/>
    <p:sldLayoutId id="2147487639" r:id="rId254"/>
    <p:sldLayoutId id="2147487640" r:id="rId255"/>
    <p:sldLayoutId id="2147487641" r:id="rId256"/>
    <p:sldLayoutId id="2147487642" r:id="rId257"/>
    <p:sldLayoutId id="2147487643" r:id="rId258"/>
    <p:sldLayoutId id="2147487644" r:id="rId259"/>
    <p:sldLayoutId id="2147487645" r:id="rId260"/>
    <p:sldLayoutId id="2147487646" r:id="rId261"/>
    <p:sldLayoutId id="2147487647" r:id="rId262"/>
    <p:sldLayoutId id="2147487648" r:id="rId263"/>
    <p:sldLayoutId id="2147487649" r:id="rId264"/>
    <p:sldLayoutId id="2147487650" r:id="rId265"/>
    <p:sldLayoutId id="2147487651" r:id="rId266"/>
    <p:sldLayoutId id="2147487652" r:id="rId267"/>
    <p:sldLayoutId id="2147487653" r:id="rId268"/>
    <p:sldLayoutId id="2147487654" r:id="rId269"/>
    <p:sldLayoutId id="2147487655" r:id="rId270"/>
    <p:sldLayoutId id="2147487656" r:id="rId271"/>
    <p:sldLayoutId id="2147487657" r:id="rId272"/>
    <p:sldLayoutId id="2147487658" r:id="rId273"/>
    <p:sldLayoutId id="2147487659" r:id="rId274"/>
    <p:sldLayoutId id="2147487660" r:id="rId275"/>
    <p:sldLayoutId id="2147487661" r:id="rId276"/>
    <p:sldLayoutId id="2147487662" r:id="rId277"/>
    <p:sldLayoutId id="2147487663" r:id="rId278"/>
    <p:sldLayoutId id="2147487664" r:id="rId279"/>
    <p:sldLayoutId id="2147487665" r:id="rId280"/>
    <p:sldLayoutId id="2147487666" r:id="rId281"/>
    <p:sldLayoutId id="2147487667" r:id="rId282"/>
    <p:sldLayoutId id="2147487668" r:id="rId283"/>
    <p:sldLayoutId id="2147487669" r:id="rId284"/>
    <p:sldLayoutId id="2147487670" r:id="rId285"/>
    <p:sldLayoutId id="2147487671" r:id="rId286"/>
    <p:sldLayoutId id="2147487672" r:id="rId287"/>
    <p:sldLayoutId id="2147487673" r:id="rId288"/>
    <p:sldLayoutId id="2147487674" r:id="rId289"/>
    <p:sldLayoutId id="2147487675" r:id="rId290"/>
    <p:sldLayoutId id="2147487676" r:id="rId291"/>
    <p:sldLayoutId id="2147487677" r:id="rId292"/>
    <p:sldLayoutId id="2147487679" r:id="rId293"/>
    <p:sldLayoutId id="2147487680" r:id="rId294"/>
    <p:sldLayoutId id="2147487681" r:id="rId295"/>
    <p:sldLayoutId id="2147487682" r:id="rId296"/>
    <p:sldLayoutId id="2147487683" r:id="rId297"/>
    <p:sldLayoutId id="2147487684" r:id="rId298"/>
    <p:sldLayoutId id="2147487685" r:id="rId299"/>
    <p:sldLayoutId id="2147487686" r:id="rId300"/>
    <p:sldLayoutId id="2147487687" r:id="rId301"/>
    <p:sldLayoutId id="2147487688" r:id="rId302"/>
    <p:sldLayoutId id="2147487689" r:id="rId303"/>
    <p:sldLayoutId id="2147487690" r:id="rId304"/>
    <p:sldLayoutId id="2147487691" r:id="rId305"/>
    <p:sldLayoutId id="2147487692" r:id="rId306"/>
    <p:sldLayoutId id="2147487693" r:id="rId307"/>
    <p:sldLayoutId id="2147487694" r:id="rId308"/>
    <p:sldLayoutId id="2147487695" r:id="rId309"/>
    <p:sldLayoutId id="2147487696" r:id="rId310"/>
    <p:sldLayoutId id="2147487697" r:id="rId311"/>
    <p:sldLayoutId id="2147487698" r:id="rId312"/>
    <p:sldLayoutId id="2147487699" r:id="rId313"/>
    <p:sldLayoutId id="2147487700" r:id="rId314"/>
    <p:sldLayoutId id="2147487701" r:id="rId315"/>
    <p:sldLayoutId id="2147487702" r:id="rId316"/>
    <p:sldLayoutId id="2147487703" r:id="rId317"/>
    <p:sldLayoutId id="2147487704" r:id="rId318"/>
    <p:sldLayoutId id="2147487705" r:id="rId319"/>
    <p:sldLayoutId id="2147487706" r:id="rId320"/>
    <p:sldLayoutId id="2147487707" r:id="rId321"/>
    <p:sldLayoutId id="2147487708" r:id="rId322"/>
    <p:sldLayoutId id="2147487709" r:id="rId323"/>
    <p:sldLayoutId id="2147487710" r:id="rId324"/>
    <p:sldLayoutId id="2147487711" r:id="rId325"/>
    <p:sldLayoutId id="2147487712" r:id="rId326"/>
    <p:sldLayoutId id="2147487713" r:id="rId327"/>
    <p:sldLayoutId id="2147487714" r:id="rId328"/>
    <p:sldLayoutId id="2147487715" r:id="rId329"/>
    <p:sldLayoutId id="2147487716" r:id="rId330"/>
    <p:sldLayoutId id="2147487717" r:id="rId331"/>
    <p:sldLayoutId id="2147487718" r:id="rId332"/>
    <p:sldLayoutId id="2147487719" r:id="rId333"/>
    <p:sldLayoutId id="2147487720" r:id="rId334"/>
    <p:sldLayoutId id="2147487721" r:id="rId335"/>
    <p:sldLayoutId id="2147487722" r:id="rId336"/>
    <p:sldLayoutId id="2147487723" r:id="rId337"/>
    <p:sldLayoutId id="2147487724" r:id="rId338"/>
    <p:sldLayoutId id="2147487725" r:id="rId339"/>
    <p:sldLayoutId id="2147487726" r:id="rId340"/>
    <p:sldLayoutId id="2147487727" r:id="rId341"/>
    <p:sldLayoutId id="2147487728" r:id="rId342"/>
    <p:sldLayoutId id="2147487729" r:id="rId343"/>
    <p:sldLayoutId id="2147487730" r:id="rId344"/>
    <p:sldLayoutId id="2147487731" r:id="rId345"/>
    <p:sldLayoutId id="2147487732" r:id="rId346"/>
    <p:sldLayoutId id="2147487733" r:id="rId347"/>
    <p:sldLayoutId id="2147487734" r:id="rId348"/>
    <p:sldLayoutId id="2147487735" r:id="rId349"/>
    <p:sldLayoutId id="2147487736" r:id="rId350"/>
    <p:sldLayoutId id="2147487737" r:id="rId351"/>
    <p:sldLayoutId id="2147487738" r:id="rId352"/>
    <p:sldLayoutId id="2147487739" r:id="rId353"/>
    <p:sldLayoutId id="2147487740" r:id="rId354"/>
    <p:sldLayoutId id="2147487741" r:id="rId355"/>
    <p:sldLayoutId id="2147487742" r:id="rId356"/>
    <p:sldLayoutId id="2147487743" r:id="rId357"/>
    <p:sldLayoutId id="2147487744" r:id="rId358"/>
    <p:sldLayoutId id="2147487745" r:id="rId359"/>
    <p:sldLayoutId id="2147487746" r:id="rId360"/>
    <p:sldLayoutId id="2147487747" r:id="rId361"/>
    <p:sldLayoutId id="2147487748" r:id="rId362"/>
    <p:sldLayoutId id="2147487749" r:id="rId363"/>
    <p:sldLayoutId id="2147487750" r:id="rId364"/>
    <p:sldLayoutId id="2147487751" r:id="rId365"/>
    <p:sldLayoutId id="2147487752" r:id="rId366"/>
    <p:sldLayoutId id="2147487753" r:id="rId367"/>
    <p:sldLayoutId id="2147487754" r:id="rId368"/>
    <p:sldLayoutId id="2147487755" r:id="rId369"/>
    <p:sldLayoutId id="2147487756" r:id="rId370"/>
    <p:sldLayoutId id="2147487757" r:id="rId371"/>
    <p:sldLayoutId id="2147487758" r:id="rId372"/>
    <p:sldLayoutId id="2147487759" r:id="rId373"/>
    <p:sldLayoutId id="2147487760" r:id="rId374"/>
    <p:sldLayoutId id="2147487761" r:id="rId375"/>
    <p:sldLayoutId id="2147487762" r:id="rId376"/>
    <p:sldLayoutId id="2147487763" r:id="rId377"/>
    <p:sldLayoutId id="2147487764" r:id="rId378"/>
    <p:sldLayoutId id="2147487765" r:id="rId379"/>
    <p:sldLayoutId id="2147487766" r:id="rId380"/>
    <p:sldLayoutId id="2147487767" r:id="rId381"/>
    <p:sldLayoutId id="2147487768" r:id="rId382"/>
    <p:sldLayoutId id="2147487769" r:id="rId383"/>
    <p:sldLayoutId id="2147487770" r:id="rId384"/>
    <p:sldLayoutId id="2147487771" r:id="rId385"/>
    <p:sldLayoutId id="2147487772" r:id="rId386"/>
    <p:sldLayoutId id="2147487773" r:id="rId387"/>
    <p:sldLayoutId id="2147487774" r:id="rId388"/>
    <p:sldLayoutId id="2147487775" r:id="rId389"/>
    <p:sldLayoutId id="2147487776" r:id="rId390"/>
    <p:sldLayoutId id="2147487777" r:id="rId391"/>
    <p:sldLayoutId id="2147487778" r:id="rId392"/>
    <p:sldLayoutId id="2147487779" r:id="rId393"/>
    <p:sldLayoutId id="2147487780" r:id="rId394"/>
    <p:sldLayoutId id="2147487781" r:id="rId395"/>
    <p:sldLayoutId id="2147487782" r:id="rId396"/>
    <p:sldLayoutId id="2147487783" r:id="rId397"/>
    <p:sldLayoutId id="2147487784" r:id="rId398"/>
    <p:sldLayoutId id="2147487785" r:id="rId399"/>
    <p:sldLayoutId id="2147487786" r:id="rId400"/>
    <p:sldLayoutId id="2147487787" r:id="rId401"/>
    <p:sldLayoutId id="2147487788" r:id="rId402"/>
    <p:sldLayoutId id="2147487789" r:id="rId403"/>
    <p:sldLayoutId id="2147487790" r:id="rId404"/>
    <p:sldLayoutId id="2147487791" r:id="rId405"/>
    <p:sldLayoutId id="2147487792" r:id="rId406"/>
    <p:sldLayoutId id="2147487793" r:id="rId407"/>
    <p:sldLayoutId id="2147487794" r:id="rId408"/>
    <p:sldLayoutId id="2147487795" r:id="rId409"/>
    <p:sldLayoutId id="2147487796" r:id="rId410"/>
    <p:sldLayoutId id="2147487797" r:id="rId411"/>
    <p:sldLayoutId id="2147487798" r:id="rId412"/>
    <p:sldLayoutId id="2147487799" r:id="rId413"/>
    <p:sldLayoutId id="2147487800" r:id="rId414"/>
    <p:sldLayoutId id="2147487801" r:id="rId415"/>
    <p:sldLayoutId id="2147487802" r:id="rId416"/>
    <p:sldLayoutId id="2147487803" r:id="rId417"/>
    <p:sldLayoutId id="2147487804" r:id="rId418"/>
    <p:sldLayoutId id="2147487805" r:id="rId419"/>
    <p:sldLayoutId id="2147487806" r:id="rId420"/>
    <p:sldLayoutId id="2147487807" r:id="rId421"/>
    <p:sldLayoutId id="2147487808" r:id="rId422"/>
    <p:sldLayoutId id="2147487809" r:id="rId423"/>
    <p:sldLayoutId id="2147487810" r:id="rId424"/>
    <p:sldLayoutId id="2147487811" r:id="rId425"/>
    <p:sldLayoutId id="2147487812" r:id="rId426"/>
    <p:sldLayoutId id="2147487813" r:id="rId427"/>
    <p:sldLayoutId id="2147487814" r:id="rId428"/>
    <p:sldLayoutId id="2147487815" r:id="rId429"/>
    <p:sldLayoutId id="2147487816" r:id="rId430"/>
    <p:sldLayoutId id="2147487817" r:id="rId431"/>
    <p:sldLayoutId id="2147487818" r:id="rId432"/>
    <p:sldLayoutId id="2147487819" r:id="rId433"/>
    <p:sldLayoutId id="2147487820" r:id="rId434"/>
    <p:sldLayoutId id="2147487821" r:id="rId435"/>
    <p:sldLayoutId id="2147487822" r:id="rId436"/>
    <p:sldLayoutId id="2147487823" r:id="rId437"/>
    <p:sldLayoutId id="2147487824" r:id="rId438"/>
    <p:sldLayoutId id="2147487825" r:id="rId439"/>
    <p:sldLayoutId id="2147487826" r:id="rId440"/>
    <p:sldLayoutId id="2147487827" r:id="rId441"/>
    <p:sldLayoutId id="2147487828" r:id="rId442"/>
    <p:sldLayoutId id="2147487829" r:id="rId443"/>
    <p:sldLayoutId id="2147487830" r:id="rId444"/>
    <p:sldLayoutId id="2147487831" r:id="rId445"/>
    <p:sldLayoutId id="2147487832" r:id="rId446"/>
    <p:sldLayoutId id="2147487833" r:id="rId447"/>
    <p:sldLayoutId id="2147487834" r:id="rId448"/>
    <p:sldLayoutId id="2147487835" r:id="rId449"/>
    <p:sldLayoutId id="2147487836" r:id="rId450"/>
    <p:sldLayoutId id="2147487843" r:id="rId451"/>
    <p:sldLayoutId id="2147487844" r:id="rId452"/>
    <p:sldLayoutId id="2147487845" r:id="rId453"/>
    <p:sldLayoutId id="2147487847" r:id="rId454"/>
    <p:sldLayoutId id="2147487848" r:id="rId455"/>
    <p:sldLayoutId id="2147487849" r:id="rId456"/>
    <p:sldLayoutId id="2147487850" r:id="rId457"/>
    <p:sldLayoutId id="2147487851" r:id="rId458"/>
    <p:sldLayoutId id="2147487852" r:id="rId459"/>
    <p:sldLayoutId id="2147487853" r:id="rId460"/>
    <p:sldLayoutId id="2147487854" r:id="rId461"/>
    <p:sldLayoutId id="2147487855" r:id="rId462"/>
    <p:sldLayoutId id="2147487856" r:id="rId463"/>
    <p:sldLayoutId id="2147487857" r:id="rId464"/>
    <p:sldLayoutId id="2147487858" r:id="rId465"/>
    <p:sldLayoutId id="2147487859" r:id="rId466"/>
    <p:sldLayoutId id="2147487860" r:id="rId467"/>
    <p:sldLayoutId id="2147487861" r:id="rId468"/>
    <p:sldLayoutId id="2147487862" r:id="rId469"/>
    <p:sldLayoutId id="2147487864" r:id="rId470"/>
    <p:sldLayoutId id="2147487865" r:id="rId471"/>
    <p:sldLayoutId id="2147487866" r:id="rId472"/>
    <p:sldLayoutId id="2147487867" r:id="rId473"/>
    <p:sldLayoutId id="2147487868" r:id="rId474"/>
    <p:sldLayoutId id="2147487869" r:id="rId475"/>
    <p:sldLayoutId id="2147487870" r:id="rId476"/>
    <p:sldLayoutId id="2147487871" r:id="rId477"/>
    <p:sldLayoutId id="2147487872" r:id="rId478"/>
    <p:sldLayoutId id="2147487873" r:id="rId479"/>
    <p:sldLayoutId id="2147487874" r:id="rId480"/>
    <p:sldLayoutId id="2147487875" r:id="rId481"/>
    <p:sldLayoutId id="2147487876" r:id="rId482"/>
    <p:sldLayoutId id="2147487877" r:id="rId483"/>
    <p:sldLayoutId id="2147487878" r:id="rId484"/>
    <p:sldLayoutId id="2147487879" r:id="rId485"/>
    <p:sldLayoutId id="2147487880" r:id="rId486"/>
    <p:sldLayoutId id="2147487881" r:id="rId487"/>
    <p:sldLayoutId id="2147487882" r:id="rId488"/>
    <p:sldLayoutId id="2147487883" r:id="rId489"/>
    <p:sldLayoutId id="2147487884" r:id="rId490"/>
    <p:sldLayoutId id="2147487885" r:id="rId491"/>
    <p:sldLayoutId id="2147487886" r:id="rId492"/>
    <p:sldLayoutId id="2147487887" r:id="rId493"/>
    <p:sldLayoutId id="2147487888" r:id="rId494"/>
    <p:sldLayoutId id="2147487889" r:id="rId495"/>
    <p:sldLayoutId id="2147487890" r:id="rId496"/>
    <p:sldLayoutId id="2147487891" r:id="rId497"/>
    <p:sldLayoutId id="2147487892" r:id="rId498"/>
    <p:sldLayoutId id="2147487893" r:id="rId499"/>
    <p:sldLayoutId id="2147487894" r:id="rId500"/>
    <p:sldLayoutId id="2147487895" r:id="rId501"/>
    <p:sldLayoutId id="2147487896" r:id="rId502"/>
    <p:sldLayoutId id="2147487897" r:id="rId503"/>
    <p:sldLayoutId id="2147487898" r:id="rId504"/>
    <p:sldLayoutId id="2147487899" r:id="rId505"/>
    <p:sldLayoutId id="2147487900" r:id="rId506"/>
    <p:sldLayoutId id="2147487901" r:id="rId507"/>
    <p:sldLayoutId id="2147487902" r:id="rId508"/>
    <p:sldLayoutId id="2147487903" r:id="rId509"/>
    <p:sldLayoutId id="2147487904" r:id="rId510"/>
    <p:sldLayoutId id="2147487905" r:id="rId511"/>
    <p:sldLayoutId id="2147487906" r:id="rId512"/>
    <p:sldLayoutId id="2147487907" r:id="rId513"/>
    <p:sldLayoutId id="2147487908" r:id="rId514"/>
    <p:sldLayoutId id="2147487909" r:id="rId515"/>
    <p:sldLayoutId id="2147487910" r:id="rId516"/>
    <p:sldLayoutId id="2147487911" r:id="rId517"/>
    <p:sldLayoutId id="2147487912" r:id="rId518"/>
    <p:sldLayoutId id="2147487913" r:id="rId519"/>
    <p:sldLayoutId id="2147487914" r:id="rId520"/>
    <p:sldLayoutId id="2147487915" r:id="rId521"/>
    <p:sldLayoutId id="2147487916" r:id="rId522"/>
    <p:sldLayoutId id="2147487917" r:id="rId523"/>
    <p:sldLayoutId id="2147487918" r:id="rId524"/>
    <p:sldLayoutId id="2147487919" r:id="rId525"/>
    <p:sldLayoutId id="2147487920" r:id="rId526"/>
    <p:sldLayoutId id="2147487921" r:id="rId527"/>
    <p:sldLayoutId id="2147487922" r:id="rId528"/>
    <p:sldLayoutId id="2147487923" r:id="rId529"/>
    <p:sldLayoutId id="2147487924" r:id="rId530"/>
    <p:sldLayoutId id="2147487925" r:id="rId531"/>
    <p:sldLayoutId id="2147487926" r:id="rId532"/>
    <p:sldLayoutId id="2147487927" r:id="rId533"/>
    <p:sldLayoutId id="2147487928" r:id="rId534"/>
    <p:sldLayoutId id="2147487929" r:id="rId535"/>
    <p:sldLayoutId id="2147487930" r:id="rId536"/>
    <p:sldLayoutId id="2147487931" r:id="rId537"/>
    <p:sldLayoutId id="2147487932" r:id="rId538"/>
    <p:sldLayoutId id="2147487933" r:id="rId539"/>
    <p:sldLayoutId id="2147487934" r:id="rId540"/>
    <p:sldLayoutId id="2147487935" r:id="rId541"/>
    <p:sldLayoutId id="2147487936" r:id="rId542"/>
    <p:sldLayoutId id="2147487937" r:id="rId543"/>
    <p:sldLayoutId id="2147487938" r:id="rId544"/>
    <p:sldLayoutId id="2147487939" r:id="rId545"/>
    <p:sldLayoutId id="2147487940" r:id="rId546"/>
    <p:sldLayoutId id="2147487941" r:id="rId547"/>
    <p:sldLayoutId id="2147487942" r:id="rId548"/>
    <p:sldLayoutId id="2147487943" r:id="rId549"/>
    <p:sldLayoutId id="2147487944" r:id="rId550"/>
    <p:sldLayoutId id="2147487945" r:id="rId551"/>
    <p:sldLayoutId id="2147487946" r:id="rId552"/>
    <p:sldLayoutId id="2147487947" r:id="rId553"/>
    <p:sldLayoutId id="2147487948" r:id="rId554"/>
    <p:sldLayoutId id="2147487949" r:id="rId555"/>
    <p:sldLayoutId id="2147487950" r:id="rId556"/>
    <p:sldLayoutId id="2147487951" r:id="rId557"/>
    <p:sldLayoutId id="2147487952" r:id="rId558"/>
    <p:sldLayoutId id="2147487953" r:id="rId559"/>
    <p:sldLayoutId id="2147487954" r:id="rId560"/>
    <p:sldLayoutId id="2147487955" r:id="rId561"/>
    <p:sldLayoutId id="2147487956" r:id="rId562"/>
    <p:sldLayoutId id="2147487957" r:id="rId563"/>
    <p:sldLayoutId id="2147487958" r:id="rId564"/>
    <p:sldLayoutId id="2147487959" r:id="rId565"/>
    <p:sldLayoutId id="2147487960" r:id="rId566"/>
    <p:sldLayoutId id="2147487961" r:id="rId567"/>
    <p:sldLayoutId id="2147487962" r:id="rId568"/>
    <p:sldLayoutId id="2147487963" r:id="rId569"/>
    <p:sldLayoutId id="2147487964" r:id="rId570"/>
    <p:sldLayoutId id="2147487965" r:id="rId571"/>
    <p:sldLayoutId id="2147487966" r:id="rId572"/>
    <p:sldLayoutId id="2147487967" r:id="rId573"/>
    <p:sldLayoutId id="2147487968" r:id="rId574"/>
    <p:sldLayoutId id="2147487969" r:id="rId575"/>
    <p:sldLayoutId id="2147487970" r:id="rId576"/>
    <p:sldLayoutId id="2147487971" r:id="rId577"/>
    <p:sldLayoutId id="2147487972" r:id="rId578"/>
    <p:sldLayoutId id="2147487973" r:id="rId579"/>
    <p:sldLayoutId id="2147487974" r:id="rId580"/>
    <p:sldLayoutId id="2147487975" r:id="rId581"/>
    <p:sldLayoutId id="2147487976" r:id="rId582"/>
    <p:sldLayoutId id="2147487977" r:id="rId583"/>
    <p:sldLayoutId id="2147487978" r:id="rId584"/>
    <p:sldLayoutId id="2147487979" r:id="rId585"/>
    <p:sldLayoutId id="2147487980" r:id="rId586"/>
    <p:sldLayoutId id="2147487981" r:id="rId587"/>
    <p:sldLayoutId id="2147487982" r:id="rId588"/>
    <p:sldLayoutId id="2147487983" r:id="rId589"/>
    <p:sldLayoutId id="2147487984" r:id="rId590"/>
    <p:sldLayoutId id="2147487985" r:id="rId591"/>
    <p:sldLayoutId id="2147487986" r:id="rId592"/>
    <p:sldLayoutId id="2147487987" r:id="rId593"/>
    <p:sldLayoutId id="2147487988" r:id="rId594"/>
    <p:sldLayoutId id="2147487989" r:id="rId595"/>
    <p:sldLayoutId id="2147487990" r:id="rId596"/>
    <p:sldLayoutId id="2147487991" r:id="rId597"/>
    <p:sldLayoutId id="2147487992" r:id="rId598"/>
    <p:sldLayoutId id="2147487993" r:id="rId599"/>
    <p:sldLayoutId id="2147487994" r:id="rId600"/>
    <p:sldLayoutId id="2147487995" r:id="rId601"/>
    <p:sldLayoutId id="2147487996" r:id="rId602"/>
    <p:sldLayoutId id="2147487997" r:id="rId603"/>
    <p:sldLayoutId id="2147487998" r:id="rId604"/>
    <p:sldLayoutId id="2147487999" r:id="rId605"/>
    <p:sldLayoutId id="2147488000" r:id="rId606"/>
    <p:sldLayoutId id="2147488001" r:id="rId607"/>
    <p:sldLayoutId id="2147488002" r:id="rId608"/>
    <p:sldLayoutId id="2147488003" r:id="rId609"/>
    <p:sldLayoutId id="2147488004" r:id="rId610"/>
    <p:sldLayoutId id="2147488005" r:id="rId611"/>
    <p:sldLayoutId id="2147488006" r:id="rId612"/>
    <p:sldLayoutId id="2147488007" r:id="rId613"/>
    <p:sldLayoutId id="2147488008" r:id="rId614"/>
    <p:sldLayoutId id="2147488009" r:id="rId615"/>
    <p:sldLayoutId id="2147488010" r:id="rId616"/>
    <p:sldLayoutId id="2147488011" r:id="rId617"/>
    <p:sldLayoutId id="2147488012" r:id="rId618"/>
    <p:sldLayoutId id="2147488013" r:id="rId619"/>
    <p:sldLayoutId id="2147488014" r:id="rId620"/>
    <p:sldLayoutId id="2147488015" r:id="rId621"/>
    <p:sldLayoutId id="2147488016" r:id="rId622"/>
    <p:sldLayoutId id="2147488017" r:id="rId623"/>
    <p:sldLayoutId id="2147488018" r:id="rId624"/>
    <p:sldLayoutId id="2147488019" r:id="rId625"/>
    <p:sldLayoutId id="2147488020" r:id="rId626"/>
    <p:sldLayoutId id="2147488021" r:id="rId627"/>
    <p:sldLayoutId id="2147488022" r:id="rId628"/>
    <p:sldLayoutId id="2147488023" r:id="rId629"/>
    <p:sldLayoutId id="2147488024" r:id="rId630"/>
    <p:sldLayoutId id="2147488025" r:id="rId631"/>
    <p:sldLayoutId id="2147488026" r:id="rId632"/>
    <p:sldLayoutId id="2147488027" r:id="rId633"/>
    <p:sldLayoutId id="2147488028" r:id="rId634"/>
    <p:sldLayoutId id="2147488029" r:id="rId635"/>
    <p:sldLayoutId id="2147488030" r:id="rId636"/>
    <p:sldLayoutId id="2147488031" r:id="rId637"/>
    <p:sldLayoutId id="2147488032" r:id="rId638"/>
    <p:sldLayoutId id="2147488033" r:id="rId639"/>
    <p:sldLayoutId id="2147488034" r:id="rId640"/>
    <p:sldLayoutId id="2147488035" r:id="rId641"/>
    <p:sldLayoutId id="2147488036" r:id="rId642"/>
    <p:sldLayoutId id="2147488037" r:id="rId643"/>
    <p:sldLayoutId id="2147488038" r:id="rId644"/>
    <p:sldLayoutId id="2147488039" r:id="rId645"/>
    <p:sldLayoutId id="2147488040" r:id="rId646"/>
    <p:sldLayoutId id="2147488041" r:id="rId647"/>
    <p:sldLayoutId id="2147488042" r:id="rId648"/>
    <p:sldLayoutId id="2147488043" r:id="rId649"/>
    <p:sldLayoutId id="2147488044" r:id="rId650"/>
    <p:sldLayoutId id="2147488045" r:id="rId651"/>
    <p:sldLayoutId id="2147488046" r:id="rId652"/>
    <p:sldLayoutId id="2147488047" r:id="rId653"/>
    <p:sldLayoutId id="2147488048" r:id="rId654"/>
    <p:sldLayoutId id="2147488049" r:id="rId655"/>
    <p:sldLayoutId id="2147488050" r:id="rId656"/>
    <p:sldLayoutId id="2147488051" r:id="rId657"/>
    <p:sldLayoutId id="2147488052" r:id="rId658"/>
    <p:sldLayoutId id="2147488053" r:id="rId659"/>
    <p:sldLayoutId id="2147488054" r:id="rId660"/>
    <p:sldLayoutId id="2147488055" r:id="rId661"/>
    <p:sldLayoutId id="2147488056" r:id="rId662"/>
    <p:sldLayoutId id="2147488057" r:id="rId663"/>
    <p:sldLayoutId id="2147488058" r:id="rId664"/>
    <p:sldLayoutId id="2147488059" r:id="rId665"/>
    <p:sldLayoutId id="2147488060" r:id="rId666"/>
    <p:sldLayoutId id="2147488061" r:id="rId667"/>
    <p:sldLayoutId id="2147488062" r:id="rId668"/>
    <p:sldLayoutId id="2147488063" r:id="rId669"/>
    <p:sldLayoutId id="2147488064" r:id="rId670"/>
    <p:sldLayoutId id="2147488065" r:id="rId671"/>
    <p:sldLayoutId id="2147488066" r:id="rId672"/>
    <p:sldLayoutId id="2147488067" r:id="rId673"/>
    <p:sldLayoutId id="2147488068" r:id="rId674"/>
    <p:sldLayoutId id="2147488069" r:id="rId675"/>
    <p:sldLayoutId id="2147488070" r:id="rId676"/>
    <p:sldLayoutId id="2147488071" r:id="rId677"/>
    <p:sldLayoutId id="2147488072" r:id="rId678"/>
    <p:sldLayoutId id="2147488073" r:id="rId679"/>
    <p:sldLayoutId id="2147488074" r:id="rId680"/>
    <p:sldLayoutId id="2147488075" r:id="rId681"/>
    <p:sldLayoutId id="2147488076" r:id="rId682"/>
    <p:sldLayoutId id="2147488077" r:id="rId683"/>
    <p:sldLayoutId id="2147488078" r:id="rId68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4.jpeg"/><Relationship Id="rId1" Type="http://schemas.openxmlformats.org/officeDocument/2006/relationships/slideLayout" Target="../slideLayouts/slideLayout385.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17.svg"/><Relationship Id="rId2" Type="http://schemas.openxmlformats.org/officeDocument/2006/relationships/image" Target="../media/image116.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19.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9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5.xml"/><Relationship Id="rId5" Type="http://schemas.openxmlformats.org/officeDocument/2006/relationships/image" Target="../media/image136.svg"/><Relationship Id="rId4" Type="http://schemas.openxmlformats.org/officeDocument/2006/relationships/image" Target="../media/image135.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76.xml"/></Relationships>
</file>

<file path=ppt/slides/_rels/slide24.xml.rels><?xml version="1.0" encoding="UTF-8" standalone="yes"?>
<Relationships xmlns="http://schemas.openxmlformats.org/package/2006/relationships"><Relationship Id="rId8" Type="http://schemas.openxmlformats.org/officeDocument/2006/relationships/image" Target="../media/image142.svg"/><Relationship Id="rId13" Type="http://schemas.openxmlformats.org/officeDocument/2006/relationships/image" Target="../media/image147.png"/><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image" Target="../media/image146.svg"/><Relationship Id="rId2" Type="http://schemas.openxmlformats.org/officeDocument/2006/relationships/notesSlide" Target="../notesSlides/notesSlide12.xml"/><Relationship Id="rId1" Type="http://schemas.openxmlformats.org/officeDocument/2006/relationships/slideLayout" Target="../slideLayouts/slideLayout688.xml"/><Relationship Id="rId6" Type="http://schemas.openxmlformats.org/officeDocument/2006/relationships/image" Target="../media/image140.svg"/><Relationship Id="rId11" Type="http://schemas.openxmlformats.org/officeDocument/2006/relationships/image" Target="../media/image145.png"/><Relationship Id="rId5" Type="http://schemas.openxmlformats.org/officeDocument/2006/relationships/image" Target="../media/image139.png"/><Relationship Id="rId10" Type="http://schemas.openxmlformats.org/officeDocument/2006/relationships/image" Target="../media/image144.svg"/><Relationship Id="rId4" Type="http://schemas.openxmlformats.org/officeDocument/2006/relationships/image" Target="../media/image138.svg"/><Relationship Id="rId9" Type="http://schemas.openxmlformats.org/officeDocument/2006/relationships/image" Target="../media/image143.png"/><Relationship Id="rId14" Type="http://schemas.openxmlformats.org/officeDocument/2006/relationships/image" Target="../media/image148.svg"/></Relationships>
</file>

<file path=ppt/slides/_rels/slide25.xml.rels><?xml version="1.0" encoding="UTF-8" standalone="yes"?>
<Relationships xmlns="http://schemas.openxmlformats.org/package/2006/relationships"><Relationship Id="rId8" Type="http://schemas.openxmlformats.org/officeDocument/2006/relationships/image" Target="../media/image143.png"/><Relationship Id="rId13" Type="http://schemas.openxmlformats.org/officeDocument/2006/relationships/image" Target="../media/image148.svg"/><Relationship Id="rId3" Type="http://schemas.openxmlformats.org/officeDocument/2006/relationships/image" Target="../media/image138.svg"/><Relationship Id="rId7" Type="http://schemas.openxmlformats.org/officeDocument/2006/relationships/image" Target="../media/image142.svg"/><Relationship Id="rId12" Type="http://schemas.openxmlformats.org/officeDocument/2006/relationships/image" Target="../media/image147.png"/><Relationship Id="rId2" Type="http://schemas.openxmlformats.org/officeDocument/2006/relationships/image" Target="../media/image137.png"/><Relationship Id="rId1" Type="http://schemas.openxmlformats.org/officeDocument/2006/relationships/slideLayout" Target="../slideLayouts/slideLayout688.xml"/><Relationship Id="rId6" Type="http://schemas.openxmlformats.org/officeDocument/2006/relationships/image" Target="../media/image141.png"/><Relationship Id="rId11" Type="http://schemas.openxmlformats.org/officeDocument/2006/relationships/image" Target="../media/image146.svg"/><Relationship Id="rId5" Type="http://schemas.openxmlformats.org/officeDocument/2006/relationships/image" Target="../media/image140.svg"/><Relationship Id="rId10" Type="http://schemas.openxmlformats.org/officeDocument/2006/relationships/image" Target="../media/image145.png"/><Relationship Id="rId4" Type="http://schemas.openxmlformats.org/officeDocument/2006/relationships/image" Target="../media/image139.png"/><Relationship Id="rId9" Type="http://schemas.openxmlformats.org/officeDocument/2006/relationships/image" Target="../media/image144.svg"/></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9.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390.xml"/></Relationships>
</file>

<file path=ppt/slides/_rels/slide31.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image" Target="../media/image158.sv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image" Target="../media/image159.png"/><Relationship Id="rId1" Type="http://schemas.openxmlformats.org/officeDocument/2006/relationships/slideLayout" Target="../slideLayouts/slideLayout688.xml"/><Relationship Id="rId4" Type="http://schemas.openxmlformats.org/officeDocument/2006/relationships/image" Target="../media/image161.svg"/></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3.xml"/><Relationship Id="rId1" Type="http://schemas.openxmlformats.org/officeDocument/2006/relationships/slideLayout" Target="../slideLayouts/slideLayout272.xml"/></Relationships>
</file>

<file path=ppt/slides/_rels/slide40.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4.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hyperlink" Target="http://www.ilpqc.org/essi" TargetMode="External"/><Relationship Id="rId1" Type="http://schemas.openxmlformats.org/officeDocument/2006/relationships/slideLayout" Target="../slideLayouts/slideLayout5.xml"/><Relationship Id="rId4" Type="http://schemas.openxmlformats.org/officeDocument/2006/relationships/image" Target="../media/image172.svg"/></Relationships>
</file>

<file path=ppt/slides/_rels/slide45.xml.rels><?xml version="1.0" encoding="UTF-8" standalone="yes"?>
<Relationships xmlns="http://schemas.openxmlformats.org/package/2006/relationships"><Relationship Id="rId8" Type="http://schemas.openxmlformats.org/officeDocument/2006/relationships/image" Target="../media/image178.svg"/><Relationship Id="rId13" Type="http://schemas.openxmlformats.org/officeDocument/2006/relationships/image" Target="../media/image183.png"/><Relationship Id="rId18" Type="http://schemas.openxmlformats.org/officeDocument/2006/relationships/image" Target="../media/image188.svg"/><Relationship Id="rId3" Type="http://schemas.openxmlformats.org/officeDocument/2006/relationships/image" Target="../media/image173.png"/><Relationship Id="rId21" Type="http://schemas.openxmlformats.org/officeDocument/2006/relationships/image" Target="../media/image171.png"/><Relationship Id="rId7" Type="http://schemas.openxmlformats.org/officeDocument/2006/relationships/image" Target="../media/image177.png"/><Relationship Id="rId12" Type="http://schemas.openxmlformats.org/officeDocument/2006/relationships/image" Target="../media/image182.svg"/><Relationship Id="rId17" Type="http://schemas.openxmlformats.org/officeDocument/2006/relationships/image" Target="../media/image187.png"/><Relationship Id="rId2" Type="http://schemas.openxmlformats.org/officeDocument/2006/relationships/notesSlide" Target="../notesSlides/notesSlide17.xml"/><Relationship Id="rId16" Type="http://schemas.openxmlformats.org/officeDocument/2006/relationships/image" Target="../media/image186.svg"/><Relationship Id="rId20" Type="http://schemas.openxmlformats.org/officeDocument/2006/relationships/image" Target="../media/image190.svg"/><Relationship Id="rId1" Type="http://schemas.openxmlformats.org/officeDocument/2006/relationships/slideLayout" Target="../slideLayouts/slideLayout688.xml"/><Relationship Id="rId6" Type="http://schemas.openxmlformats.org/officeDocument/2006/relationships/image" Target="../media/image176.svg"/><Relationship Id="rId11" Type="http://schemas.openxmlformats.org/officeDocument/2006/relationships/image" Target="../media/image181.png"/><Relationship Id="rId5" Type="http://schemas.openxmlformats.org/officeDocument/2006/relationships/image" Target="../media/image175.png"/><Relationship Id="rId15" Type="http://schemas.openxmlformats.org/officeDocument/2006/relationships/image" Target="../media/image185.png"/><Relationship Id="rId23" Type="http://schemas.openxmlformats.org/officeDocument/2006/relationships/image" Target="../media/image191.png"/><Relationship Id="rId10" Type="http://schemas.openxmlformats.org/officeDocument/2006/relationships/image" Target="../media/image180.svg"/><Relationship Id="rId19" Type="http://schemas.openxmlformats.org/officeDocument/2006/relationships/image" Target="../media/image189.png"/><Relationship Id="rId4" Type="http://schemas.openxmlformats.org/officeDocument/2006/relationships/image" Target="../media/image174.svg"/><Relationship Id="rId9" Type="http://schemas.openxmlformats.org/officeDocument/2006/relationships/image" Target="../media/image179.png"/><Relationship Id="rId14" Type="http://schemas.openxmlformats.org/officeDocument/2006/relationships/image" Target="../media/image184.svg"/><Relationship Id="rId22" Type="http://schemas.openxmlformats.org/officeDocument/2006/relationships/image" Target="../media/image172.svg"/></Relationships>
</file>

<file path=ppt/slides/_rels/slide46.xml.rels><?xml version="1.0" encoding="UTF-8" standalone="yes"?>
<Relationships xmlns="http://schemas.openxmlformats.org/package/2006/relationships"><Relationship Id="rId8" Type="http://schemas.openxmlformats.org/officeDocument/2006/relationships/image" Target="../media/image194.png"/><Relationship Id="rId13" Type="http://schemas.openxmlformats.org/officeDocument/2006/relationships/image" Target="../media/image182.svg"/><Relationship Id="rId18" Type="http://schemas.openxmlformats.org/officeDocument/2006/relationships/image" Target="../media/image191.png"/><Relationship Id="rId3" Type="http://schemas.openxmlformats.org/officeDocument/2006/relationships/image" Target="../media/image193.svg"/><Relationship Id="rId7" Type="http://schemas.openxmlformats.org/officeDocument/2006/relationships/image" Target="../media/image178.svg"/><Relationship Id="rId12" Type="http://schemas.openxmlformats.org/officeDocument/2006/relationships/image" Target="../media/image181.png"/><Relationship Id="rId17" Type="http://schemas.openxmlformats.org/officeDocument/2006/relationships/image" Target="../media/image172.svg"/><Relationship Id="rId2" Type="http://schemas.openxmlformats.org/officeDocument/2006/relationships/image" Target="../media/image192.png"/><Relationship Id="rId16" Type="http://schemas.openxmlformats.org/officeDocument/2006/relationships/image" Target="../media/image171.png"/><Relationship Id="rId1" Type="http://schemas.openxmlformats.org/officeDocument/2006/relationships/slideLayout" Target="../slideLayouts/slideLayout688.xml"/><Relationship Id="rId6" Type="http://schemas.openxmlformats.org/officeDocument/2006/relationships/image" Target="../media/image177.png"/><Relationship Id="rId11" Type="http://schemas.openxmlformats.org/officeDocument/2006/relationships/image" Target="../media/image197.svg"/><Relationship Id="rId5" Type="http://schemas.openxmlformats.org/officeDocument/2006/relationships/image" Target="../media/image176.svg"/><Relationship Id="rId15" Type="http://schemas.openxmlformats.org/officeDocument/2006/relationships/image" Target="../media/image199.svg"/><Relationship Id="rId10" Type="http://schemas.openxmlformats.org/officeDocument/2006/relationships/image" Target="../media/image196.png"/><Relationship Id="rId4" Type="http://schemas.openxmlformats.org/officeDocument/2006/relationships/image" Target="../media/image175.png"/><Relationship Id="rId9" Type="http://schemas.openxmlformats.org/officeDocument/2006/relationships/image" Target="../media/image195.svg"/><Relationship Id="rId14" Type="http://schemas.openxmlformats.org/officeDocument/2006/relationships/image" Target="../media/image198.png"/></Relationships>
</file>

<file path=ppt/slides/_rels/slide47.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hyperlink" Target="mailto:info@ilpqc.org" TargetMode="External"/><Relationship Id="rId1" Type="http://schemas.openxmlformats.org/officeDocument/2006/relationships/slideLayout" Target="../slideLayouts/slideLayout5.xml"/><Relationship Id="rId4" Type="http://schemas.openxmlformats.org/officeDocument/2006/relationships/image" Target="../media/image202.svg"/></Relationships>
</file>

<file path=ppt/slides/_rels/slide5.xml.rels><?xml version="1.0" encoding="UTF-8" standalone="yes"?>
<Relationships xmlns="http://schemas.openxmlformats.org/package/2006/relationships"><Relationship Id="rId8" Type="http://schemas.openxmlformats.org/officeDocument/2006/relationships/image" Target="../media/image101.jpeg"/><Relationship Id="rId3" Type="http://schemas.openxmlformats.org/officeDocument/2006/relationships/image" Target="../media/image96.jpeg"/><Relationship Id="rId7" Type="http://schemas.openxmlformats.org/officeDocument/2006/relationships/image" Target="../media/image100.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99.jpeg"/><Relationship Id="rId5" Type="http://schemas.openxmlformats.org/officeDocument/2006/relationships/image" Target="../media/image98.jpeg"/><Relationship Id="rId4" Type="http://schemas.openxmlformats.org/officeDocument/2006/relationships/image" Target="../media/image97.jpeg"/><Relationship Id="rId9" Type="http://schemas.openxmlformats.org/officeDocument/2006/relationships/image" Target="../media/image102.jpeg"/></Relationships>
</file>

<file path=ppt/slides/_rels/slide50.xml.rels><?xml version="1.0" encoding="UTF-8" standalone="yes"?>
<Relationships xmlns="http://schemas.openxmlformats.org/package/2006/relationships"><Relationship Id="rId8" Type="http://schemas.openxmlformats.org/officeDocument/2006/relationships/image" Target="../media/image177.png"/><Relationship Id="rId13" Type="http://schemas.openxmlformats.org/officeDocument/2006/relationships/image" Target="../media/image208.svg"/><Relationship Id="rId3" Type="http://schemas.microsoft.com/office/2018/10/relationships/comments" Target="../comments/modernComment_2F7_1BB70A98.xml"/><Relationship Id="rId7" Type="http://schemas.openxmlformats.org/officeDocument/2006/relationships/image" Target="../media/image204.svg"/><Relationship Id="rId12" Type="http://schemas.openxmlformats.org/officeDocument/2006/relationships/image" Target="../media/image207.png"/><Relationship Id="rId2" Type="http://schemas.openxmlformats.org/officeDocument/2006/relationships/notesSlide" Target="../notesSlides/notesSlide19.xml"/><Relationship Id="rId16" Type="http://schemas.openxmlformats.org/officeDocument/2006/relationships/image" Target="../media/image211.png"/><Relationship Id="rId1" Type="http://schemas.openxmlformats.org/officeDocument/2006/relationships/slideLayout" Target="../slideLayouts/slideLayout688.xml"/><Relationship Id="rId6" Type="http://schemas.openxmlformats.org/officeDocument/2006/relationships/image" Target="../media/image203.png"/><Relationship Id="rId11" Type="http://schemas.openxmlformats.org/officeDocument/2006/relationships/image" Target="../media/image206.svg"/><Relationship Id="rId5" Type="http://schemas.openxmlformats.org/officeDocument/2006/relationships/image" Target="../media/image176.svg"/><Relationship Id="rId15" Type="http://schemas.openxmlformats.org/officeDocument/2006/relationships/image" Target="../media/image210.svg"/><Relationship Id="rId10" Type="http://schemas.openxmlformats.org/officeDocument/2006/relationships/image" Target="../media/image205.png"/><Relationship Id="rId4" Type="http://schemas.openxmlformats.org/officeDocument/2006/relationships/image" Target="../media/image175.png"/><Relationship Id="rId9" Type="http://schemas.openxmlformats.org/officeDocument/2006/relationships/image" Target="../media/image178.svg"/><Relationship Id="rId14" Type="http://schemas.openxmlformats.org/officeDocument/2006/relationships/image" Target="../media/image209.png"/></Relationships>
</file>

<file path=ppt/slides/_rels/slide6.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xml"/><Relationship Id="rId1" Type="http://schemas.openxmlformats.org/officeDocument/2006/relationships/slideLayout" Target="../slideLayouts/slideLayout68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notesSlide" Target="../notesSlides/notesSlide7.xml"/><Relationship Id="rId1" Type="http://schemas.openxmlformats.org/officeDocument/2006/relationships/slideLayout" Target="../slideLayouts/slideLayout26.xml"/><Relationship Id="rId5" Type="http://schemas.openxmlformats.org/officeDocument/2006/relationships/image" Target="../media/image106.png"/><Relationship Id="rId4" Type="http://schemas.openxmlformats.org/officeDocument/2006/relationships/image" Target="../media/image105.png"/></Relationships>
</file>

<file path=ppt/slides/_rels/slide9.xml.rels><?xml version="1.0" encoding="UTF-8" standalone="yes"?>
<Relationships xmlns="http://schemas.openxmlformats.org/package/2006/relationships"><Relationship Id="rId3" Type="http://schemas.openxmlformats.org/officeDocument/2006/relationships/image" Target="../media/image107.emf"/><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0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001763" cy="2618177"/>
          </a:xfrm>
        </p:spPr>
        <p:txBody>
          <a:bodyPr/>
          <a:lstStyle/>
          <a:p>
            <a:pPr algn="ctr"/>
            <a:r>
              <a:rPr lang="en-US">
                <a:solidFill>
                  <a:schemeClr val="accent1"/>
                </a:solidFill>
                <a:ea typeface="+mj-lt"/>
                <a:cs typeface="+mj-lt"/>
              </a:rPr>
              <a:t>QI Leader Support Call: ESSI Initiative</a:t>
            </a:r>
            <a:r>
              <a:rPr lang="en-US">
                <a:ea typeface="+mj-lt"/>
                <a:cs typeface="+mj-lt"/>
              </a:rPr>
              <a:t> </a:t>
            </a:r>
            <a:br>
              <a:rPr lang="en-US">
                <a:ea typeface="+mj-lt"/>
                <a:cs typeface="+mj-lt"/>
              </a:rPr>
            </a:br>
            <a:endParaRPr lang="en-US" sz="3600">
              <a:ea typeface="+mj-lt"/>
              <a:cs typeface="+mj-lt"/>
            </a:endParaRPr>
          </a:p>
        </p:txBody>
      </p:sp>
      <p:pic>
        <p:nvPicPr>
          <p:cNvPr id="2" name="Picture 1" descr="Push pins laying down with one standing up">
            <a:extLst>
              <a:ext uri="{FF2B5EF4-FFF2-40B4-BE49-F238E27FC236}">
                <a16:creationId xmlns:a16="http://schemas.microsoft.com/office/drawing/2014/main" id="{0D7C69D0-240C-8322-D521-66F461EE341B}"/>
              </a:ext>
            </a:extLst>
          </p:cNvPr>
          <p:cNvPicPr>
            <a:picLocks noChangeAspect="1"/>
          </p:cNvPicPr>
          <p:nvPr/>
        </p:nvPicPr>
        <p:blipFill>
          <a:blip r:embed="rId2"/>
          <a:srcRect l="4160" r="4160"/>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630743" y="4030972"/>
            <a:ext cx="5081851"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a:ea typeface="+mn-lt"/>
                <a:cs typeface="+mn-lt"/>
              </a:rPr>
              <a:t>Thursday, December 7th, 2023</a:t>
            </a:r>
            <a:endParaRPr lang="en-US">
              <a:cs typeface="Calibri"/>
            </a:endParaRPr>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F75BEC83-D159-8B0F-F620-96A35FA5C767}"/>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ea typeface="Lato Medium"/>
                <a:cs typeface="Lato Medium"/>
              </a:rPr>
              <a:t>ILPQC initiative support</a:t>
            </a:r>
            <a:endParaRPr lang="en-US" sz="4000">
              <a:solidFill>
                <a:srgbClr val="FFFFFF"/>
              </a:solidFill>
            </a:endParaRPr>
          </a:p>
        </p:txBody>
      </p:sp>
      <p:sp>
        <p:nvSpPr>
          <p:cNvPr id="3" name="Footer Placeholder 2">
            <a:extLst>
              <a:ext uri="{FF2B5EF4-FFF2-40B4-BE49-F238E27FC236}">
                <a16:creationId xmlns:a16="http://schemas.microsoft.com/office/drawing/2014/main" id="{CEE04D07-E754-407A-AF01-3E961E5F8299}"/>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2" name="Slide Number Placeholder 1">
            <a:extLst>
              <a:ext uri="{FF2B5EF4-FFF2-40B4-BE49-F238E27FC236}">
                <a16:creationId xmlns:a16="http://schemas.microsoft.com/office/drawing/2014/main" id="{9CE5A4B0-542F-2C9E-8991-42C03138835F}"/>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10</a:t>
            </a:fld>
            <a:endParaRPr lang="en-US" sz="1100">
              <a:solidFill>
                <a:schemeClr val="tx1">
                  <a:lumMod val="50000"/>
                  <a:lumOff val="50000"/>
                </a:schemeClr>
              </a:solidFill>
            </a:endParaRPr>
          </a:p>
        </p:txBody>
      </p:sp>
      <p:graphicFrame>
        <p:nvGraphicFramePr>
          <p:cNvPr id="7" name="Content Placeholder 4">
            <a:extLst>
              <a:ext uri="{FF2B5EF4-FFF2-40B4-BE49-F238E27FC236}">
                <a16:creationId xmlns:a16="http://schemas.microsoft.com/office/drawing/2014/main" id="{12C8E58B-812A-DA46-B1A6-90A0997A352B}"/>
              </a:ext>
            </a:extLst>
          </p:cNvPr>
          <p:cNvGraphicFramePr>
            <a:graphicFrameLocks noGrp="1"/>
          </p:cNvGraphicFramePr>
          <p:nvPr>
            <p:ph idx="1"/>
            <p:extLst>
              <p:ext uri="{D42A27DB-BD31-4B8C-83A1-F6EECF244321}">
                <p14:modId xmlns:p14="http://schemas.microsoft.com/office/powerpoint/2010/main" val="2198331468"/>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92611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p:txBody>
          <a:bodyPr/>
          <a:lstStyle/>
          <a:p>
            <a:r>
              <a:rPr lang="en-US" sz="4800">
                <a:ea typeface="Lato Medium"/>
                <a:cs typeface="Lato Medium"/>
              </a:rPr>
              <a:t>What is QI?</a:t>
            </a:r>
            <a:endParaRPr lang="en-US" sz="4800"/>
          </a:p>
        </p:txBody>
      </p:sp>
      <p:sp>
        <p:nvSpPr>
          <p:cNvPr id="3" name="Subtitle 2">
            <a:extLst>
              <a:ext uri="{FF2B5EF4-FFF2-40B4-BE49-F238E27FC236}">
                <a16:creationId xmlns:a16="http://schemas.microsoft.com/office/drawing/2014/main" id="{7D25E3C3-3F87-0EF1-E88A-5A092D255913}"/>
              </a:ext>
            </a:extLst>
          </p:cNvPr>
          <p:cNvSpPr>
            <a:spLocks noGrp="1"/>
          </p:cNvSpPr>
          <p:nvPr>
            <p:ph type="subTitle" idx="1"/>
          </p:nvPr>
        </p:nvSpPr>
        <p:spPr/>
        <p:txBody>
          <a:bodyPr vert="horz" lIns="91440" tIns="45720" rIns="91440" bIns="45720" rtlCol="0" anchor="t">
            <a:noAutofit/>
          </a:bodyPr>
          <a:lstStyle/>
          <a:p>
            <a:r>
              <a:rPr lang="en-US">
                <a:ea typeface="Lato"/>
                <a:cs typeface="Lato"/>
              </a:rPr>
              <a:t>QI= quality improvement</a:t>
            </a:r>
            <a:endParaRPr lang="en-US"/>
          </a:p>
        </p:txBody>
      </p:sp>
    </p:spTree>
    <p:extLst>
      <p:ext uri="{BB962C8B-B14F-4D97-AF65-F5344CB8AC3E}">
        <p14:creationId xmlns:p14="http://schemas.microsoft.com/office/powerpoint/2010/main" val="19496139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Content Placeholder 7">
            <a:extLst>
              <a:ext uri="{FF2B5EF4-FFF2-40B4-BE49-F238E27FC236}">
                <a16:creationId xmlns:a16="http://schemas.microsoft.com/office/drawing/2014/main" id="{04407E59-9135-CA13-2F6F-1044072DCAAD}"/>
              </a:ext>
            </a:extLst>
          </p:cNvPr>
          <p:cNvSpPr>
            <a:spLocks noGrp="1"/>
          </p:cNvSpPr>
          <p:nvPr>
            <p:ph idx="1"/>
          </p:nvPr>
        </p:nvSpPr>
        <p:spPr>
          <a:xfrm>
            <a:off x="630936" y="2807208"/>
            <a:ext cx="3429000" cy="3410712"/>
          </a:xfrm>
        </p:spPr>
        <p:txBody>
          <a:bodyPr anchor="t">
            <a:normAutofit/>
          </a:bodyPr>
          <a:lstStyle/>
          <a:p>
            <a:endParaRPr lang="en-US" sz="2200"/>
          </a:p>
        </p:txBody>
      </p:sp>
      <p:pic>
        <p:nvPicPr>
          <p:cNvPr id="4" name="Content Placeholder 3" descr="A diagram of a system&#10;&#10;Description automatically generated">
            <a:extLst>
              <a:ext uri="{FF2B5EF4-FFF2-40B4-BE49-F238E27FC236}">
                <a16:creationId xmlns:a16="http://schemas.microsoft.com/office/drawing/2014/main" id="{88C41695-E6F3-DBC8-D295-A24473E9E355}"/>
              </a:ext>
            </a:extLst>
          </p:cNvPr>
          <p:cNvPicPr>
            <a:picLocks noChangeAspect="1"/>
          </p:cNvPicPr>
          <p:nvPr/>
        </p:nvPicPr>
        <p:blipFill>
          <a:blip r:embed="rId2"/>
          <a:stretch>
            <a:fillRect/>
          </a:stretch>
        </p:blipFill>
        <p:spPr>
          <a:xfrm>
            <a:off x="3734145" y="1234236"/>
            <a:ext cx="8341455" cy="5022131"/>
          </a:xfrm>
          <a:prstGeom prst="rect">
            <a:avLst/>
          </a:prstGeom>
        </p:spPr>
      </p:pic>
      <p:sp>
        <p:nvSpPr>
          <p:cNvPr id="3" name="Rectangle: Rounded Corners 2">
            <a:extLst>
              <a:ext uri="{FF2B5EF4-FFF2-40B4-BE49-F238E27FC236}">
                <a16:creationId xmlns:a16="http://schemas.microsoft.com/office/drawing/2014/main" id="{697CC922-DCBC-6909-3C50-81936822364F}"/>
              </a:ext>
            </a:extLst>
          </p:cNvPr>
          <p:cNvSpPr/>
          <p:nvPr/>
        </p:nvSpPr>
        <p:spPr>
          <a:xfrm>
            <a:off x="10652759" y="777239"/>
            <a:ext cx="1524000" cy="675735"/>
          </a:xfrm>
          <a:prstGeom prst="round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BEAE34A-2D52-A58C-2DA2-581F73FFE439}"/>
              </a:ext>
            </a:extLst>
          </p:cNvPr>
          <p:cNvSpPr>
            <a:spLocks noGrp="1"/>
          </p:cNvSpPr>
          <p:nvPr>
            <p:ph type="title"/>
          </p:nvPr>
        </p:nvSpPr>
        <p:spPr>
          <a:xfrm>
            <a:off x="630936" y="639520"/>
            <a:ext cx="3429000" cy="1719072"/>
          </a:xfrm>
        </p:spPr>
        <p:txBody>
          <a:bodyPr anchor="b">
            <a:normAutofit/>
          </a:bodyPr>
          <a:lstStyle/>
          <a:p>
            <a:pPr>
              <a:lnSpc>
                <a:spcPct val="90000"/>
              </a:lnSpc>
            </a:pPr>
            <a:r>
              <a:rPr lang="en-US" sz="3800">
                <a:ea typeface="+mj-lt"/>
                <a:cs typeface="+mj-lt"/>
              </a:rPr>
              <a:t>What is Quality Improvement?</a:t>
            </a:r>
            <a:endParaRPr lang="en-US" sz="3800">
              <a:cs typeface="Calibri"/>
            </a:endParaRPr>
          </a:p>
        </p:txBody>
      </p:sp>
    </p:spTree>
    <p:extLst>
      <p:ext uri="{BB962C8B-B14F-4D97-AF65-F5344CB8AC3E}">
        <p14:creationId xmlns:p14="http://schemas.microsoft.com/office/powerpoint/2010/main" val="2541915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B7BD7FCF-A254-4A97-A15C-319B676226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reeform: Shape 26">
            <a:extLst>
              <a:ext uri="{FF2B5EF4-FFF2-40B4-BE49-F238E27FC236}">
                <a16:creationId xmlns:a16="http://schemas.microsoft.com/office/drawing/2014/main" id="{52FFAF72-6204-4676-9C6F-9A4CC4D9180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5962785" cy="6858000"/>
          </a:xfrm>
          <a:custGeom>
            <a:avLst/>
            <a:gdLst>
              <a:gd name="connsiteX0" fmla="*/ 1044839 w 5962785"/>
              <a:gd name="connsiteY0" fmla="*/ 0 h 6858000"/>
              <a:gd name="connsiteX1" fmla="*/ 5962785 w 5962785"/>
              <a:gd name="connsiteY1" fmla="*/ 0 h 6858000"/>
              <a:gd name="connsiteX2" fmla="*/ 5962785 w 5962785"/>
              <a:gd name="connsiteY2" fmla="*/ 6858000 h 6858000"/>
              <a:gd name="connsiteX3" fmla="*/ 1469886 w 5962785"/>
              <a:gd name="connsiteY3" fmla="*/ 6858000 h 6858000"/>
              <a:gd name="connsiteX4" fmla="*/ 1416006 w 5962785"/>
              <a:gd name="connsiteY4" fmla="*/ 6823984 h 6858000"/>
              <a:gd name="connsiteX5" fmla="*/ 1232473 w 5962785"/>
              <a:gd name="connsiteY5" fmla="*/ 6733873 h 6858000"/>
              <a:gd name="connsiteX6" fmla="*/ 1075471 w 5962785"/>
              <a:gd name="connsiteY6" fmla="*/ 6503186 h 6858000"/>
              <a:gd name="connsiteX7" fmla="*/ 1020229 w 5962785"/>
              <a:gd name="connsiteY7" fmla="*/ 6438306 h 6858000"/>
              <a:gd name="connsiteX8" fmla="*/ 883579 w 5962785"/>
              <a:gd name="connsiteY8" fmla="*/ 6351798 h 6858000"/>
              <a:gd name="connsiteX9" fmla="*/ 645167 w 5962785"/>
              <a:gd name="connsiteY9" fmla="*/ 6167969 h 6858000"/>
              <a:gd name="connsiteX10" fmla="*/ 732391 w 5962785"/>
              <a:gd name="connsiteY10" fmla="*/ 6124716 h 6858000"/>
              <a:gd name="connsiteX11" fmla="*/ 985339 w 5962785"/>
              <a:gd name="connsiteY11" fmla="*/ 6236455 h 6858000"/>
              <a:gd name="connsiteX12" fmla="*/ 1168509 w 5962785"/>
              <a:gd name="connsiteY12" fmla="*/ 6265291 h 6858000"/>
              <a:gd name="connsiteX13" fmla="*/ 909746 w 5962785"/>
              <a:gd name="connsiteY13" fmla="*/ 6070649 h 6858000"/>
              <a:gd name="connsiteX14" fmla="*/ 659704 w 5962785"/>
              <a:gd name="connsiteY14" fmla="*/ 5818335 h 6858000"/>
              <a:gd name="connsiteX15" fmla="*/ 851597 w 5962785"/>
              <a:gd name="connsiteY15" fmla="*/ 5865193 h 6858000"/>
              <a:gd name="connsiteX16" fmla="*/ 860319 w 5962785"/>
              <a:gd name="connsiteY16" fmla="*/ 5832753 h 6858000"/>
              <a:gd name="connsiteX17" fmla="*/ 691686 w 5962785"/>
              <a:gd name="connsiteY17" fmla="*/ 5533581 h 6858000"/>
              <a:gd name="connsiteX18" fmla="*/ 610278 w 5962785"/>
              <a:gd name="connsiteY18" fmla="*/ 5411029 h 6858000"/>
              <a:gd name="connsiteX19" fmla="*/ 238123 w 5962785"/>
              <a:gd name="connsiteY19" fmla="*/ 5046976 h 6858000"/>
              <a:gd name="connsiteX20" fmla="*/ 592833 w 5962785"/>
              <a:gd name="connsiteY20" fmla="*/ 5209177 h 6858000"/>
              <a:gd name="connsiteX21" fmla="*/ 226494 w 5962785"/>
              <a:gd name="connsiteY21" fmla="*/ 4855939 h 6858000"/>
              <a:gd name="connsiteX22" fmla="*/ 49139 w 5962785"/>
              <a:gd name="connsiteY22" fmla="*/ 4726177 h 6858000"/>
              <a:gd name="connsiteX23" fmla="*/ 5527 w 5962785"/>
              <a:gd name="connsiteY23" fmla="*/ 4650483 h 6858000"/>
              <a:gd name="connsiteX24" fmla="*/ 84029 w 5962785"/>
              <a:gd name="connsiteY24" fmla="*/ 4632460 h 6858000"/>
              <a:gd name="connsiteX25" fmla="*/ 325347 w 5962785"/>
              <a:gd name="connsiteY25" fmla="*/ 4661296 h 6858000"/>
              <a:gd name="connsiteX26" fmla="*/ 25879 w 5962785"/>
              <a:gd name="connsiteY26" fmla="*/ 4423401 h 6858000"/>
              <a:gd name="connsiteX27" fmla="*/ 249753 w 5962785"/>
              <a:gd name="connsiteY27" fmla="*/ 4459446 h 6858000"/>
              <a:gd name="connsiteX28" fmla="*/ 313718 w 5962785"/>
              <a:gd name="connsiteY28" fmla="*/ 4365729 h 6858000"/>
              <a:gd name="connsiteX29" fmla="*/ 418386 w 5962785"/>
              <a:gd name="connsiteY29" fmla="*/ 4214341 h 6858000"/>
              <a:gd name="connsiteX30" fmla="*/ 491072 w 5962785"/>
              <a:gd name="connsiteY30" fmla="*/ 4131438 h 6858000"/>
              <a:gd name="connsiteX31" fmla="*/ 520147 w 5962785"/>
              <a:gd name="connsiteY31" fmla="*/ 3864706 h 6858000"/>
              <a:gd name="connsiteX32" fmla="*/ 459090 w 5962785"/>
              <a:gd name="connsiteY32" fmla="*/ 3572743 h 6858000"/>
              <a:gd name="connsiteX33" fmla="*/ 290458 w 5962785"/>
              <a:gd name="connsiteY33" fmla="*/ 3424959 h 6858000"/>
              <a:gd name="connsiteX34" fmla="*/ 339884 w 5962785"/>
              <a:gd name="connsiteY34" fmla="*/ 3259153 h 6858000"/>
              <a:gd name="connsiteX35" fmla="*/ 697501 w 5962785"/>
              <a:gd name="connsiteY35" fmla="*/ 3360078 h 6858000"/>
              <a:gd name="connsiteX36" fmla="*/ 165437 w 5962785"/>
              <a:gd name="connsiteY36" fmla="*/ 2967190 h 6858000"/>
              <a:gd name="connsiteX37" fmla="*/ 255568 w 5962785"/>
              <a:gd name="connsiteY37" fmla="*/ 2949167 h 6858000"/>
              <a:gd name="connsiteX38" fmla="*/ 578296 w 5962785"/>
              <a:gd name="connsiteY38" fmla="*/ 2725691 h 6858000"/>
              <a:gd name="connsiteX39" fmla="*/ 595740 w 5962785"/>
              <a:gd name="connsiteY39" fmla="*/ 2714876 h 6858000"/>
              <a:gd name="connsiteX40" fmla="*/ 650982 w 5962785"/>
              <a:gd name="connsiteY40" fmla="*/ 2574301 h 6858000"/>
              <a:gd name="connsiteX41" fmla="*/ 825429 w 5962785"/>
              <a:gd name="connsiteY41" fmla="*/ 2552674 h 6858000"/>
              <a:gd name="connsiteX42" fmla="*/ 970802 w 5962785"/>
              <a:gd name="connsiteY42" fmla="*/ 2585115 h 6858000"/>
              <a:gd name="connsiteX43" fmla="*/ 1127805 w 5962785"/>
              <a:gd name="connsiteY43" fmla="*/ 2545465 h 6858000"/>
              <a:gd name="connsiteX44" fmla="*/ 1267362 w 5962785"/>
              <a:gd name="connsiteY44" fmla="*/ 2563488 h 6858000"/>
              <a:gd name="connsiteX45" fmla="*/ 1386568 w 5962785"/>
              <a:gd name="connsiteY45" fmla="*/ 2538257 h 6858000"/>
              <a:gd name="connsiteX46" fmla="*/ 1270270 w 5962785"/>
              <a:gd name="connsiteY46" fmla="*/ 2419309 h 6858000"/>
              <a:gd name="connsiteX47" fmla="*/ 1107453 w 5962785"/>
              <a:gd name="connsiteY47" fmla="*/ 2419309 h 6858000"/>
              <a:gd name="connsiteX48" fmla="*/ 991154 w 5962785"/>
              <a:gd name="connsiteY48" fmla="*/ 2343615 h 6858000"/>
              <a:gd name="connsiteX49" fmla="*/ 880671 w 5962785"/>
              <a:gd name="connsiteY49" fmla="*/ 2206645 h 6858000"/>
              <a:gd name="connsiteX50" fmla="*/ 491072 w 5962785"/>
              <a:gd name="connsiteY50" fmla="*/ 1986771 h 6858000"/>
              <a:gd name="connsiteX51" fmla="*/ 421293 w 5962785"/>
              <a:gd name="connsiteY51" fmla="*/ 1903868 h 6858000"/>
              <a:gd name="connsiteX52" fmla="*/ 1531941 w 5962785"/>
              <a:gd name="connsiteY52" fmla="*/ 2224667 h 6858000"/>
              <a:gd name="connsiteX53" fmla="*/ 1188861 w 5962785"/>
              <a:gd name="connsiteY53" fmla="*/ 2091301 h 6858000"/>
              <a:gd name="connsiteX54" fmla="*/ 1421458 w 5962785"/>
              <a:gd name="connsiteY54" fmla="*/ 2116532 h 6858000"/>
              <a:gd name="connsiteX55" fmla="*/ 1549386 w 5962785"/>
              <a:gd name="connsiteY55" fmla="*/ 2026420 h 6858000"/>
              <a:gd name="connsiteX56" fmla="*/ 1549386 w 5962785"/>
              <a:gd name="connsiteY56" fmla="*/ 1997584 h 6858000"/>
              <a:gd name="connsiteX57" fmla="*/ 1453440 w 5962785"/>
              <a:gd name="connsiteY57" fmla="*/ 1914682 h 6858000"/>
              <a:gd name="connsiteX58" fmla="*/ 1398198 w 5962785"/>
              <a:gd name="connsiteY58" fmla="*/ 1860614 h 6858000"/>
              <a:gd name="connsiteX59" fmla="*/ 1247011 w 5962785"/>
              <a:gd name="connsiteY59" fmla="*/ 1665972 h 6858000"/>
              <a:gd name="connsiteX60" fmla="*/ 1354586 w 5962785"/>
              <a:gd name="connsiteY60" fmla="*/ 1644345 h 6858000"/>
              <a:gd name="connsiteX61" fmla="*/ 1395290 w 5962785"/>
              <a:gd name="connsiteY61" fmla="*/ 1604696 h 6858000"/>
              <a:gd name="connsiteX62" fmla="*/ 1366216 w 5962785"/>
              <a:gd name="connsiteY62" fmla="*/ 1547025 h 6858000"/>
              <a:gd name="connsiteX63" fmla="*/ 1031858 w 5962785"/>
              <a:gd name="connsiteY63" fmla="*/ 1370405 h 6858000"/>
              <a:gd name="connsiteX64" fmla="*/ 1005692 w 5962785"/>
              <a:gd name="connsiteY64" fmla="*/ 1233435 h 6858000"/>
              <a:gd name="connsiteX65" fmla="*/ 1069655 w 5962785"/>
              <a:gd name="connsiteY65" fmla="*/ 1211808 h 6858000"/>
              <a:gd name="connsiteX66" fmla="*/ 1142342 w 5962785"/>
              <a:gd name="connsiteY66" fmla="*/ 1222621 h 6858000"/>
              <a:gd name="connsiteX67" fmla="*/ 1084193 w 5962785"/>
              <a:gd name="connsiteY67" fmla="*/ 1114487 h 6858000"/>
              <a:gd name="connsiteX68" fmla="*/ 848689 w 5962785"/>
              <a:gd name="connsiteY68" fmla="*/ 1006353 h 6858000"/>
              <a:gd name="connsiteX69" fmla="*/ 805077 w 5962785"/>
              <a:gd name="connsiteY69" fmla="*/ 948681 h 6858000"/>
              <a:gd name="connsiteX70" fmla="*/ 863226 w 5962785"/>
              <a:gd name="connsiteY70" fmla="*/ 919844 h 6858000"/>
              <a:gd name="connsiteX71" fmla="*/ 906838 w 5962785"/>
              <a:gd name="connsiteY71" fmla="*/ 909031 h 6858000"/>
              <a:gd name="connsiteX72" fmla="*/ 5527 w 5962785"/>
              <a:gd name="connsiteY72" fmla="*/ 458471 h 6858000"/>
              <a:gd name="connsiteX73" fmla="*/ 209049 w 5962785"/>
              <a:gd name="connsiteY73" fmla="*/ 454867 h 6858000"/>
              <a:gd name="connsiteX74" fmla="*/ 409664 w 5962785"/>
              <a:gd name="connsiteY74" fmla="*/ 526956 h 6858000"/>
              <a:gd name="connsiteX75" fmla="*/ 621908 w 5962785"/>
              <a:gd name="connsiteY75" fmla="*/ 516143 h 6858000"/>
              <a:gd name="connsiteX76" fmla="*/ 822522 w 5962785"/>
              <a:gd name="connsiteY76" fmla="*/ 552188 h 6858000"/>
              <a:gd name="connsiteX77" fmla="*/ 996969 w 5962785"/>
              <a:gd name="connsiteY77" fmla="*/ 552188 h 6858000"/>
              <a:gd name="connsiteX78" fmla="*/ 834151 w 5962785"/>
              <a:gd name="connsiteY78" fmla="*/ 498120 h 6858000"/>
              <a:gd name="connsiteX79" fmla="*/ 773095 w 5962785"/>
              <a:gd name="connsiteY79" fmla="*/ 408008 h 6858000"/>
              <a:gd name="connsiteX80" fmla="*/ 793447 w 5962785"/>
              <a:gd name="connsiteY80" fmla="*/ 325106 h 6858000"/>
              <a:gd name="connsiteX81" fmla="*/ 860319 w 5962785"/>
              <a:gd name="connsiteY81" fmla="*/ 350336 h 6858000"/>
              <a:gd name="connsiteX82" fmla="*/ 938820 w 5962785"/>
              <a:gd name="connsiteY82" fmla="*/ 444054 h 6858000"/>
              <a:gd name="connsiteX83" fmla="*/ 956265 w 5962785"/>
              <a:gd name="connsiteY83" fmla="*/ 386381 h 6858000"/>
              <a:gd name="connsiteX84" fmla="*/ 1002784 w 5962785"/>
              <a:gd name="connsiteY84" fmla="*/ 343127 h 6858000"/>
              <a:gd name="connsiteX85" fmla="*/ 1270270 w 5962785"/>
              <a:gd name="connsiteY85" fmla="*/ 364755 h 6858000"/>
              <a:gd name="connsiteX86" fmla="*/ 1092915 w 5962785"/>
              <a:gd name="connsiteY86" fmla="*/ 180926 h 6858000"/>
              <a:gd name="connsiteX87" fmla="*/ 979525 w 5962785"/>
              <a:gd name="connsiteY87" fmla="*/ 152090 h 6858000"/>
              <a:gd name="connsiteX88" fmla="*/ 953358 w 5962785"/>
              <a:gd name="connsiteY88" fmla="*/ 76396 h 6858000"/>
              <a:gd name="connsiteX89" fmla="*/ 1005692 w 5962785"/>
              <a:gd name="connsiteY89" fmla="*/ 58373 h 6858000"/>
              <a:gd name="connsiteX90" fmla="*/ 1267362 w 5962785"/>
              <a:gd name="connsiteY90" fmla="*/ 123254 h 6858000"/>
              <a:gd name="connsiteX91" fmla="*/ 1310975 w 5962785"/>
              <a:gd name="connsiteY91" fmla="*/ 98023 h 6858000"/>
              <a:gd name="connsiteX92" fmla="*/ 1159787 w 5962785"/>
              <a:gd name="connsiteY92" fmla="*/ 4350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solidFill>
            <a:schemeClr val="bg2">
              <a:alpha val="50000"/>
            </a:schemeClr>
          </a:solidFill>
          <a:ln w="32707" cap="flat">
            <a:noFill/>
            <a:prstDash val="solid"/>
            <a:miter/>
          </a:ln>
        </p:spPr>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ABEAE34A-2D52-A58C-2DA2-581F73FFE439}"/>
              </a:ext>
            </a:extLst>
          </p:cNvPr>
          <p:cNvSpPr>
            <a:spLocks noGrp="1"/>
          </p:cNvSpPr>
          <p:nvPr>
            <p:ph type="title"/>
          </p:nvPr>
        </p:nvSpPr>
        <p:spPr>
          <a:xfrm>
            <a:off x="643468" y="643467"/>
            <a:ext cx="4764357" cy="4940948"/>
          </a:xfrm>
        </p:spPr>
        <p:txBody>
          <a:bodyPr vert="horz" lIns="91440" tIns="45720" rIns="91440" bIns="45720" rtlCol="0" anchor="b">
            <a:normAutofit/>
          </a:bodyPr>
          <a:lstStyle/>
          <a:p>
            <a:pPr>
              <a:lnSpc>
                <a:spcPct val="90000"/>
              </a:lnSpc>
            </a:pPr>
            <a:r>
              <a:rPr lang="en-US" sz="4400" kern="1200">
                <a:solidFill>
                  <a:schemeClr val="tx1"/>
                </a:solidFill>
                <a:latin typeface="+mj-lt"/>
                <a:ea typeface="+mj-ea"/>
                <a:cs typeface="+mj-cs"/>
              </a:rPr>
              <a:t>Quality Improvement work is NOT just education or large roll outs of one idea</a:t>
            </a:r>
          </a:p>
        </p:txBody>
      </p:sp>
      <p:pic>
        <p:nvPicPr>
          <p:cNvPr id="7" name="Graphic 6" descr="No sign with solid fill">
            <a:extLst>
              <a:ext uri="{FF2B5EF4-FFF2-40B4-BE49-F238E27FC236}">
                <a16:creationId xmlns:a16="http://schemas.microsoft.com/office/drawing/2014/main" id="{648AEA2B-20F0-4307-3422-7010EC1CAD1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06253" y="957860"/>
            <a:ext cx="4942280" cy="4942280"/>
          </a:xfrm>
          <a:prstGeom prst="rect">
            <a:avLst/>
          </a:prstGeom>
        </p:spPr>
      </p:pic>
      <p:sp>
        <p:nvSpPr>
          <p:cNvPr id="9" name="Content Placeholder 8">
            <a:extLst>
              <a:ext uri="{FF2B5EF4-FFF2-40B4-BE49-F238E27FC236}">
                <a16:creationId xmlns:a16="http://schemas.microsoft.com/office/drawing/2014/main" id="{694423A0-E7E7-CEE8-C80A-D6D3D14A2E48}"/>
              </a:ext>
            </a:extLst>
          </p:cNvPr>
          <p:cNvSpPr>
            <a:spLocks noGrp="1"/>
          </p:cNvSpPr>
          <p:nvPr>
            <p:ph idx="1"/>
          </p:nvPr>
        </p:nvSpPr>
        <p:spPr/>
        <p:txBody>
          <a:bodyPr/>
          <a:lstStyle/>
          <a:p>
            <a:endParaRPr lang="en-US"/>
          </a:p>
        </p:txBody>
      </p:sp>
    </p:spTree>
    <p:extLst>
      <p:ext uri="{BB962C8B-B14F-4D97-AF65-F5344CB8AC3E}">
        <p14:creationId xmlns:p14="http://schemas.microsoft.com/office/powerpoint/2010/main" val="14241892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63F5877B-98C7-49DD-83AB-0F6F57CB65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A diagram of a plan and study&#10;&#10;Description automatically generated">
            <a:extLst>
              <a:ext uri="{FF2B5EF4-FFF2-40B4-BE49-F238E27FC236}">
                <a16:creationId xmlns:a16="http://schemas.microsoft.com/office/drawing/2014/main" id="{ADD5BB0D-E8E5-F0C4-66FF-C6015A844E0C}"/>
              </a:ext>
            </a:extLst>
          </p:cNvPr>
          <p:cNvPicPr>
            <a:picLocks noChangeAspect="1"/>
          </p:cNvPicPr>
          <p:nvPr/>
        </p:nvPicPr>
        <p:blipFill rotWithShape="1">
          <a:blip r:embed="rId3"/>
          <a:srcRect t="9318" r="-1" b="11134"/>
          <a:stretch/>
        </p:blipFill>
        <p:spPr>
          <a:xfrm>
            <a:off x="3453437" y="-18"/>
            <a:ext cx="4827922" cy="6857999"/>
          </a:xfrm>
          <a:custGeom>
            <a:avLst/>
            <a:gdLst/>
            <a:ahLst/>
            <a:cxnLst/>
            <a:rect l="l" t="t" r="r" b="b"/>
            <a:pathLst>
              <a:path w="4827922" h="6858000">
                <a:moveTo>
                  <a:pt x="4441" y="0"/>
                </a:moveTo>
                <a:lnTo>
                  <a:pt x="4827922" y="0"/>
                </a:lnTo>
                <a:lnTo>
                  <a:pt x="4827922" y="6858000"/>
                </a:lnTo>
                <a:lnTo>
                  <a:pt x="0" y="6858000"/>
                </a:lnTo>
                <a:lnTo>
                  <a:pt x="106674" y="6638378"/>
                </a:lnTo>
                <a:cubicBezTo>
                  <a:pt x="530028" y="5720938"/>
                  <a:pt x="777229" y="4614948"/>
                  <a:pt x="777229" y="3424428"/>
                </a:cubicBezTo>
                <a:cubicBezTo>
                  <a:pt x="777229" y="2233909"/>
                  <a:pt x="530028" y="1127919"/>
                  <a:pt x="106674" y="210478"/>
                </a:cubicBezTo>
                <a:close/>
              </a:path>
            </a:pathLst>
          </a:custGeom>
        </p:spPr>
      </p:pic>
      <p:pic>
        <p:nvPicPr>
          <p:cNvPr id="11" name="Picture 10" descr="A diagram of a plan and plan&#10;&#10;Description automatically generated">
            <a:extLst>
              <a:ext uri="{FF2B5EF4-FFF2-40B4-BE49-F238E27FC236}">
                <a16:creationId xmlns:a16="http://schemas.microsoft.com/office/drawing/2014/main" id="{E3B31575-1699-97A1-7D84-F659A8AEBB7E}"/>
              </a:ext>
            </a:extLst>
          </p:cNvPr>
          <p:cNvPicPr>
            <a:picLocks noChangeAspect="1"/>
          </p:cNvPicPr>
          <p:nvPr/>
        </p:nvPicPr>
        <p:blipFill rotWithShape="1">
          <a:blip r:embed="rId4"/>
          <a:srcRect t="9181" r="-2" b="10725"/>
          <a:stretch/>
        </p:blipFill>
        <p:spPr>
          <a:xfrm>
            <a:off x="7389435" y="18"/>
            <a:ext cx="4966290" cy="6857999"/>
          </a:xfrm>
          <a:custGeom>
            <a:avLst/>
            <a:gdLst/>
            <a:ahLst/>
            <a:cxnLst/>
            <a:rect l="l" t="t" r="r" b="b"/>
            <a:pathLst>
              <a:path w="4966290" h="6857999">
                <a:moveTo>
                  <a:pt x="0" y="0"/>
                </a:moveTo>
                <a:lnTo>
                  <a:pt x="4188230" y="0"/>
                </a:lnTo>
                <a:lnTo>
                  <a:pt x="4295735" y="210478"/>
                </a:lnTo>
                <a:cubicBezTo>
                  <a:pt x="4719089" y="1127919"/>
                  <a:pt x="4966290" y="2233909"/>
                  <a:pt x="4966290" y="3424428"/>
                </a:cubicBezTo>
                <a:cubicBezTo>
                  <a:pt x="4966290" y="4614948"/>
                  <a:pt x="4719089" y="5720938"/>
                  <a:pt x="4295735" y="6638378"/>
                </a:cubicBezTo>
                <a:lnTo>
                  <a:pt x="4183560" y="6857999"/>
                </a:lnTo>
                <a:lnTo>
                  <a:pt x="53039" y="6857999"/>
                </a:lnTo>
                <a:lnTo>
                  <a:pt x="132047" y="6695338"/>
                </a:lnTo>
                <a:cubicBezTo>
                  <a:pt x="555401" y="5777898"/>
                  <a:pt x="802602" y="4671908"/>
                  <a:pt x="802602" y="3481388"/>
                </a:cubicBezTo>
                <a:cubicBezTo>
                  <a:pt x="802602" y="2191659"/>
                  <a:pt x="512484" y="1001134"/>
                  <a:pt x="22579" y="42066"/>
                </a:cubicBezTo>
                <a:close/>
              </a:path>
            </a:pathLst>
          </a:custGeom>
        </p:spPr>
      </p:pic>
      <p:sp useBgFill="1">
        <p:nvSpPr>
          <p:cNvPr id="18" name="Freeform: Shape 17">
            <a:extLst>
              <a:ext uri="{FF2B5EF4-FFF2-40B4-BE49-F238E27FC236}">
                <a16:creationId xmlns:a16="http://schemas.microsoft.com/office/drawing/2014/main" id="{4EA91930-66BC-4C41-B4F5-C31EB216F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945815" cy="6858000"/>
          </a:xfrm>
          <a:custGeom>
            <a:avLst/>
            <a:gdLst>
              <a:gd name="connsiteX0" fmla="*/ 0 w 3945815"/>
              <a:gd name="connsiteY0" fmla="*/ 0 h 6858000"/>
              <a:gd name="connsiteX1" fmla="*/ 3138662 w 3945815"/>
              <a:gd name="connsiteY1" fmla="*/ 0 h 6858000"/>
              <a:gd name="connsiteX2" fmla="*/ 3275260 w 3945815"/>
              <a:gd name="connsiteY2" fmla="*/ 267438 h 6858000"/>
              <a:gd name="connsiteX3" fmla="*/ 3945815 w 3945815"/>
              <a:gd name="connsiteY3" fmla="*/ 3481388 h 6858000"/>
              <a:gd name="connsiteX4" fmla="*/ 3275260 w 3945815"/>
              <a:gd name="connsiteY4" fmla="*/ 6695338 h 6858000"/>
              <a:gd name="connsiteX5" fmla="*/ 3192177 w 3945815"/>
              <a:gd name="connsiteY5" fmla="*/ 6858000 h 6858000"/>
              <a:gd name="connsiteX6" fmla="*/ 0 w 3945815"/>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5815" h="6858000">
                <a:moveTo>
                  <a:pt x="0" y="0"/>
                </a:moveTo>
                <a:lnTo>
                  <a:pt x="3138662" y="0"/>
                </a:lnTo>
                <a:lnTo>
                  <a:pt x="3275260" y="267438"/>
                </a:lnTo>
                <a:cubicBezTo>
                  <a:pt x="3698614" y="1184879"/>
                  <a:pt x="3945815" y="2290869"/>
                  <a:pt x="3945815" y="3481388"/>
                </a:cubicBezTo>
                <a:cubicBezTo>
                  <a:pt x="3945815" y="4671908"/>
                  <a:pt x="3698614" y="5777898"/>
                  <a:pt x="3275260" y="6695338"/>
                </a:cubicBezTo>
                <a:lnTo>
                  <a:pt x="3192177" y="6858000"/>
                </a:lnTo>
                <a:lnTo>
                  <a:pt x="0" y="6858000"/>
                </a:lnTo>
                <a:close/>
              </a:path>
            </a:pathLst>
          </a:custGeom>
          <a:ln w="9525">
            <a:solidFill>
              <a:srgbClr val="EFEFEF"/>
            </a:solidFill>
          </a:ln>
          <a:effectLst>
            <a:outerShdw blurRad="50800" dist="38100" algn="l" rotWithShape="0">
              <a:schemeClr val="bg1">
                <a:lumMod val="8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0" name="Freeform: Shape 19">
            <a:extLst>
              <a:ext uri="{FF2B5EF4-FFF2-40B4-BE49-F238E27FC236}">
                <a16:creationId xmlns:a16="http://schemas.microsoft.com/office/drawing/2014/main" id="{6313CF8F-B436-401E-9575-DE0F8E8B5B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936670" cy="6858000"/>
          </a:xfrm>
          <a:custGeom>
            <a:avLst/>
            <a:gdLst>
              <a:gd name="connsiteX0" fmla="*/ 0 w 3936670"/>
              <a:gd name="connsiteY0" fmla="*/ 0 h 6858000"/>
              <a:gd name="connsiteX1" fmla="*/ 3129517 w 3936670"/>
              <a:gd name="connsiteY1" fmla="*/ 0 h 6858000"/>
              <a:gd name="connsiteX2" fmla="*/ 3266115 w 3936670"/>
              <a:gd name="connsiteY2" fmla="*/ 267438 h 6858000"/>
              <a:gd name="connsiteX3" fmla="*/ 3936670 w 3936670"/>
              <a:gd name="connsiteY3" fmla="*/ 3481388 h 6858000"/>
              <a:gd name="connsiteX4" fmla="*/ 3266115 w 3936670"/>
              <a:gd name="connsiteY4" fmla="*/ 6695338 h 6858000"/>
              <a:gd name="connsiteX5" fmla="*/ 3183032 w 3936670"/>
              <a:gd name="connsiteY5" fmla="*/ 6858000 h 6858000"/>
              <a:gd name="connsiteX6" fmla="*/ 0 w 3936670"/>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6670" h="6858000">
                <a:moveTo>
                  <a:pt x="0" y="0"/>
                </a:moveTo>
                <a:lnTo>
                  <a:pt x="3129517" y="0"/>
                </a:lnTo>
                <a:lnTo>
                  <a:pt x="3266115" y="267438"/>
                </a:lnTo>
                <a:cubicBezTo>
                  <a:pt x="3689469" y="1184879"/>
                  <a:pt x="3936670" y="2290869"/>
                  <a:pt x="3936670" y="3481388"/>
                </a:cubicBezTo>
                <a:cubicBezTo>
                  <a:pt x="3936670" y="4671908"/>
                  <a:pt x="3689469" y="5777898"/>
                  <a:pt x="3266115" y="6695338"/>
                </a:cubicBezTo>
                <a:lnTo>
                  <a:pt x="3183032"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50660DD-55AA-9303-E4CF-AE555E14850E}"/>
              </a:ext>
            </a:extLst>
          </p:cNvPr>
          <p:cNvSpPr>
            <a:spLocks noGrp="1"/>
          </p:cNvSpPr>
          <p:nvPr>
            <p:ph type="title"/>
          </p:nvPr>
        </p:nvSpPr>
        <p:spPr>
          <a:xfrm>
            <a:off x="448056" y="681038"/>
            <a:ext cx="2804504" cy="1325563"/>
          </a:xfrm>
        </p:spPr>
        <p:txBody>
          <a:bodyPr anchor="ctr">
            <a:normAutofit/>
          </a:bodyPr>
          <a:lstStyle/>
          <a:p>
            <a:r>
              <a:rPr lang="en-US" sz="3100">
                <a:ea typeface="Lato Medium"/>
                <a:cs typeface="Calibri"/>
              </a:rPr>
              <a:t>PDSA Cycles</a:t>
            </a:r>
            <a:endParaRPr lang="en-US" sz="3100">
              <a:ea typeface="Lato Medium"/>
            </a:endParaRPr>
          </a:p>
        </p:txBody>
      </p:sp>
      <p:sp>
        <p:nvSpPr>
          <p:cNvPr id="22" name="Rectangle 21">
            <a:extLst>
              <a:ext uri="{FF2B5EF4-FFF2-40B4-BE49-F238E27FC236}">
                <a16:creationId xmlns:a16="http://schemas.microsoft.com/office/drawing/2014/main" id="{2A38CFE9-C30A-4551-ACCB-D5808FBC39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016867"/>
            <a:ext cx="128016" cy="6539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4" name="Rectangle 23">
            <a:extLst>
              <a:ext uri="{FF2B5EF4-FFF2-40B4-BE49-F238E27FC236}">
                <a16:creationId xmlns:a16="http://schemas.microsoft.com/office/drawing/2014/main" id="{67EF550F-47CE-4FB2-9DAC-12AD835C83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38912" y="2089941"/>
            <a:ext cx="2834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1BDBFFB4-BDFD-7CAA-7ED3-E8D59F73B2F5}"/>
              </a:ext>
            </a:extLst>
          </p:cNvPr>
          <p:cNvSpPr>
            <a:spLocks noGrp="1"/>
          </p:cNvSpPr>
          <p:nvPr>
            <p:ph idx="1"/>
          </p:nvPr>
        </p:nvSpPr>
        <p:spPr>
          <a:xfrm>
            <a:off x="433679" y="2258171"/>
            <a:ext cx="3250201" cy="3918792"/>
          </a:xfrm>
        </p:spPr>
        <p:txBody>
          <a:bodyPr vert="horz" lIns="91440" tIns="45720" rIns="91440" bIns="45720" rtlCol="0" anchor="t">
            <a:noAutofit/>
          </a:bodyPr>
          <a:lstStyle/>
          <a:p>
            <a:r>
              <a:rPr lang="en-US" sz="2200">
                <a:ea typeface="+mn-lt"/>
                <a:cs typeface="+mn-lt"/>
              </a:rPr>
              <a:t>Develop a plan to test the change (</a:t>
            </a:r>
            <a:r>
              <a:rPr lang="en-US" sz="2200" b="1">
                <a:ea typeface="+mn-lt"/>
                <a:cs typeface="+mn-lt"/>
              </a:rPr>
              <a:t>Plan</a:t>
            </a:r>
            <a:r>
              <a:rPr lang="en-US" sz="2200">
                <a:ea typeface="+mn-lt"/>
                <a:cs typeface="+mn-lt"/>
              </a:rPr>
              <a:t>) </a:t>
            </a:r>
            <a:endParaRPr lang="en-US" sz="2200"/>
          </a:p>
          <a:p>
            <a:r>
              <a:rPr lang="en-US" sz="2200">
                <a:ea typeface="+mn-lt"/>
                <a:cs typeface="+mn-lt"/>
              </a:rPr>
              <a:t>Carry out the test (</a:t>
            </a:r>
            <a:r>
              <a:rPr lang="en-US" sz="2200" b="1">
                <a:ea typeface="+mn-lt"/>
                <a:cs typeface="+mn-lt"/>
              </a:rPr>
              <a:t>Do</a:t>
            </a:r>
            <a:r>
              <a:rPr lang="en-US" sz="2200">
                <a:ea typeface="+mn-lt"/>
                <a:cs typeface="+mn-lt"/>
              </a:rPr>
              <a:t>)</a:t>
            </a:r>
            <a:endParaRPr lang="en-US" sz="2200"/>
          </a:p>
          <a:p>
            <a:r>
              <a:rPr lang="en-US" sz="2200">
                <a:ea typeface="+mn-lt"/>
                <a:cs typeface="+mn-lt"/>
              </a:rPr>
              <a:t>Observe, analyze, and learn from the test (</a:t>
            </a:r>
            <a:r>
              <a:rPr lang="en-US" sz="2200" b="1">
                <a:ea typeface="+mn-lt"/>
                <a:cs typeface="+mn-lt"/>
              </a:rPr>
              <a:t>Study</a:t>
            </a:r>
            <a:r>
              <a:rPr lang="en-US" sz="2200">
                <a:ea typeface="+mn-lt"/>
                <a:cs typeface="+mn-lt"/>
              </a:rPr>
              <a:t>)</a:t>
            </a:r>
            <a:endParaRPr lang="en-US" sz="2200"/>
          </a:p>
          <a:p>
            <a:r>
              <a:rPr lang="en-US" sz="2200">
                <a:ea typeface="+mn-lt"/>
                <a:cs typeface="+mn-lt"/>
              </a:rPr>
              <a:t>Determine what modifications, if any, to make for the next cycle (</a:t>
            </a:r>
            <a:r>
              <a:rPr lang="en-US" sz="2200" b="1">
                <a:ea typeface="+mn-lt"/>
                <a:cs typeface="+mn-lt"/>
              </a:rPr>
              <a:t>Act</a:t>
            </a:r>
            <a:r>
              <a:rPr lang="en-US" sz="2200">
                <a:ea typeface="+mn-lt"/>
                <a:cs typeface="+mn-lt"/>
              </a:rPr>
              <a:t>) </a:t>
            </a:r>
            <a:endParaRPr lang="en-US" sz="2200"/>
          </a:p>
        </p:txBody>
      </p:sp>
      <p:sp>
        <p:nvSpPr>
          <p:cNvPr id="5" name="Footer Placeholder 4">
            <a:extLst>
              <a:ext uri="{FF2B5EF4-FFF2-40B4-BE49-F238E27FC236}">
                <a16:creationId xmlns:a16="http://schemas.microsoft.com/office/drawing/2014/main" id="{32B23182-521C-2DCB-0256-BF76AF151C33}"/>
              </a:ext>
            </a:extLst>
          </p:cNvPr>
          <p:cNvSpPr>
            <a:spLocks noGrp="1"/>
          </p:cNvSpPr>
          <p:nvPr>
            <p:ph type="ftr" sz="quarter" idx="11"/>
          </p:nvPr>
        </p:nvSpPr>
        <p:spPr>
          <a:xfrm>
            <a:off x="3449224" y="6356350"/>
            <a:ext cx="3857309" cy="365125"/>
          </a:xfrm>
        </p:spPr>
        <p:txBody>
          <a:bodyPr>
            <a:normAutofit/>
          </a:bodyPr>
          <a:lstStyle/>
          <a:p>
            <a:pPr>
              <a:spcAft>
                <a:spcPts val="600"/>
              </a:spcAft>
            </a:pPr>
            <a:r>
              <a:rPr lang="en-US">
                <a:solidFill>
                  <a:schemeClr val="bg1"/>
                </a:solidFill>
              </a:rPr>
              <a:t>Illinois Perinatal Quality Collaborative</a:t>
            </a:r>
          </a:p>
        </p:txBody>
      </p:sp>
      <p:sp>
        <p:nvSpPr>
          <p:cNvPr id="4" name="Slide Number Placeholder 3">
            <a:extLst>
              <a:ext uri="{FF2B5EF4-FFF2-40B4-BE49-F238E27FC236}">
                <a16:creationId xmlns:a16="http://schemas.microsoft.com/office/drawing/2014/main" id="{6DFF1913-0354-37F0-846A-03B88E26573C}"/>
              </a:ext>
            </a:extLst>
          </p:cNvPr>
          <p:cNvSpPr>
            <a:spLocks noGrp="1"/>
          </p:cNvSpPr>
          <p:nvPr>
            <p:ph type="sldNum" sz="quarter" idx="10"/>
          </p:nvPr>
        </p:nvSpPr>
        <p:spPr>
          <a:xfrm>
            <a:off x="9009888" y="6356350"/>
            <a:ext cx="2743200" cy="365125"/>
          </a:xfrm>
        </p:spPr>
        <p:txBody>
          <a:bodyPr>
            <a:normAutofit/>
          </a:bodyPr>
          <a:lstStyle/>
          <a:p>
            <a:pPr>
              <a:spcAft>
                <a:spcPts val="600"/>
              </a:spcAft>
            </a:pPr>
            <a:fld id="{97033E4B-E3EB-3D46-B2D8-3159663620FA}" type="slidenum">
              <a:rPr lang="en-US">
                <a:solidFill>
                  <a:schemeClr val="bg1"/>
                </a:solidFill>
              </a:rPr>
              <a:pPr>
                <a:spcAft>
                  <a:spcPts val="600"/>
                </a:spcAft>
              </a:pPr>
              <a:t>14</a:t>
            </a:fld>
            <a:endParaRPr lang="en-US">
              <a:solidFill>
                <a:schemeClr val="bg1"/>
              </a:solidFill>
            </a:endParaRPr>
          </a:p>
        </p:txBody>
      </p:sp>
    </p:spTree>
    <p:extLst>
      <p:ext uri="{BB962C8B-B14F-4D97-AF65-F5344CB8AC3E}">
        <p14:creationId xmlns:p14="http://schemas.microsoft.com/office/powerpoint/2010/main" val="36478744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lnSpc>
                <a:spcPct val="90000"/>
              </a:lnSpc>
            </a:pPr>
            <a:r>
              <a:rPr lang="en-US" sz="6100" kern="1200">
                <a:solidFill>
                  <a:schemeClr val="tx1"/>
                </a:solidFill>
                <a:latin typeface="+mj-lt"/>
                <a:ea typeface="+mj-ea"/>
                <a:cs typeface="+mj-cs"/>
              </a:rPr>
              <a:t>WHAT DOES IT MEAN TO BE </a:t>
            </a:r>
            <a:br>
              <a:rPr lang="en-US" sz="6100" kern="1200">
                <a:solidFill>
                  <a:schemeClr val="tx1"/>
                </a:solidFill>
                <a:latin typeface="+mj-lt"/>
                <a:ea typeface="+mj-ea"/>
                <a:cs typeface="+mj-cs"/>
              </a:rPr>
            </a:br>
            <a:r>
              <a:rPr lang="en-US" sz="6100" kern="1200">
                <a:solidFill>
                  <a:schemeClr val="tx1"/>
                </a:solidFill>
                <a:latin typeface="+mj-lt"/>
                <a:ea typeface="+mj-ea"/>
                <a:cs typeface="+mj-cs"/>
              </a:rPr>
              <a:t>A QI TEAM LEAD?</a:t>
            </a: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2548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06359C8-F43E-21AB-0B9F-BC7EB28D9B4C}"/>
              </a:ext>
            </a:extLst>
          </p:cNvPr>
          <p:cNvSpPr>
            <a:spLocks noGrp="1"/>
          </p:cNvSpPr>
          <p:nvPr>
            <p:ph type="title"/>
          </p:nvPr>
        </p:nvSpPr>
        <p:spPr>
          <a:xfrm>
            <a:off x="572493" y="238539"/>
            <a:ext cx="11018520" cy="1434415"/>
          </a:xfrm>
        </p:spPr>
        <p:txBody>
          <a:bodyPr anchor="b">
            <a:normAutofit/>
          </a:bodyPr>
          <a:lstStyle/>
          <a:p>
            <a:r>
              <a:rPr lang="en-US" sz="5400">
                <a:ea typeface="Lato Medium"/>
                <a:cs typeface="Lato Medium"/>
              </a:rPr>
              <a:t>Role of the Team Lead</a:t>
            </a:r>
            <a:endParaRPr lang="en-US" sz="5400"/>
          </a:p>
        </p:txBody>
      </p:sp>
      <p:sp>
        <p:nvSpPr>
          <p:cNvPr id="12"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4796E78C-7FE0-EEB2-D5C4-7DB5D69CA7B7}"/>
              </a:ext>
            </a:extLst>
          </p:cNvPr>
          <p:cNvSpPr>
            <a:spLocks noGrp="1"/>
          </p:cNvSpPr>
          <p:nvPr>
            <p:ph idx="1"/>
          </p:nvPr>
        </p:nvSpPr>
        <p:spPr>
          <a:xfrm>
            <a:off x="471852" y="1841278"/>
            <a:ext cx="7245513" cy="4349210"/>
          </a:xfrm>
        </p:spPr>
        <p:txBody>
          <a:bodyPr vert="horz" lIns="91440" tIns="45720" rIns="91440" bIns="45720" rtlCol="0" anchor="t">
            <a:noAutofit/>
          </a:bodyPr>
          <a:lstStyle/>
          <a:p>
            <a:pPr marL="0" indent="0" algn="ctr">
              <a:buNone/>
            </a:pPr>
            <a:r>
              <a:rPr lang="en-US" sz="2150" b="1">
                <a:ea typeface="+mn-lt"/>
                <a:cs typeface="+mn-lt"/>
              </a:rPr>
              <a:t>Team leads</a:t>
            </a:r>
            <a:r>
              <a:rPr lang="en-US" sz="2150">
                <a:ea typeface="+mn-lt"/>
                <a:cs typeface="+mn-lt"/>
              </a:rPr>
              <a:t> are responsible for:</a:t>
            </a:r>
            <a:endParaRPr lang="en-US" sz="2150"/>
          </a:p>
          <a:p>
            <a:pPr marL="0" indent="0">
              <a:buNone/>
            </a:pPr>
            <a:r>
              <a:rPr lang="en-US" sz="2150">
                <a:ea typeface="+mn-lt"/>
                <a:cs typeface="+mn-lt"/>
              </a:rPr>
              <a:t>1.</a:t>
            </a:r>
            <a:r>
              <a:rPr lang="en-US" sz="2150" b="1" i="1" u="sng">
                <a:solidFill>
                  <a:schemeClr val="accent1"/>
                </a:solidFill>
                <a:ea typeface="+mn-lt"/>
                <a:cs typeface="+mn-lt"/>
              </a:rPr>
              <a:t> Involving</a:t>
            </a:r>
            <a:r>
              <a:rPr lang="en-US" sz="2150">
                <a:ea typeface="+mn-lt"/>
                <a:cs typeface="+mn-lt"/>
              </a:rPr>
              <a:t> those who are directly working with the process of care for patients, including unit leaders, educators, and multidisciplinary direct care providers </a:t>
            </a:r>
            <a:endParaRPr lang="en-US" sz="2150"/>
          </a:p>
          <a:p>
            <a:pPr marL="0" indent="0">
              <a:buNone/>
            </a:pPr>
            <a:r>
              <a:rPr lang="en-US" sz="2150">
                <a:ea typeface="+mn-lt"/>
                <a:cs typeface="+mn-lt"/>
              </a:rPr>
              <a:t>2. </a:t>
            </a:r>
            <a:r>
              <a:rPr lang="en-US" sz="2150" b="1" i="1" u="sng">
                <a:solidFill>
                  <a:schemeClr val="accent1"/>
                </a:solidFill>
                <a:ea typeface="+mn-lt"/>
                <a:cs typeface="+mn-lt"/>
              </a:rPr>
              <a:t>Attending</a:t>
            </a:r>
            <a:r>
              <a:rPr lang="en-US" sz="2150">
                <a:ea typeface="+mn-lt"/>
                <a:cs typeface="+mn-lt"/>
              </a:rPr>
              <a:t> monthly ILPQC Teams Calls </a:t>
            </a:r>
            <a:endParaRPr lang="en-US" sz="2150"/>
          </a:p>
          <a:p>
            <a:pPr marL="0" indent="0">
              <a:buNone/>
            </a:pPr>
            <a:r>
              <a:rPr lang="en-US" sz="2150">
                <a:ea typeface="+mn-lt"/>
                <a:cs typeface="+mn-lt"/>
              </a:rPr>
              <a:t>3. </a:t>
            </a:r>
            <a:r>
              <a:rPr lang="en-US" sz="2150" b="1" i="1" u="sng">
                <a:solidFill>
                  <a:schemeClr val="accent1"/>
                </a:solidFill>
                <a:ea typeface="+mn-lt"/>
                <a:cs typeface="+mn-lt"/>
              </a:rPr>
              <a:t>Supporting</a:t>
            </a:r>
            <a:r>
              <a:rPr lang="en-US" sz="2150">
                <a:ea typeface="+mn-lt"/>
                <a:cs typeface="+mn-lt"/>
              </a:rPr>
              <a:t> timely submission of monthly data and quarterly QI report forms in the ILPQC Data and Reporting Systems </a:t>
            </a:r>
            <a:endParaRPr lang="en-US" sz="2150"/>
          </a:p>
          <a:p>
            <a:pPr marL="0" indent="0">
              <a:buNone/>
            </a:pPr>
            <a:r>
              <a:rPr lang="en-US" sz="2150">
                <a:ea typeface="+mn-lt"/>
                <a:cs typeface="+mn-lt"/>
              </a:rPr>
              <a:t>4. </a:t>
            </a:r>
            <a:r>
              <a:rPr lang="en-US" sz="2150" b="1" i="1" u="sng">
                <a:solidFill>
                  <a:schemeClr val="accent1"/>
                </a:solidFill>
                <a:ea typeface="+mn-lt"/>
                <a:cs typeface="+mn-lt"/>
              </a:rPr>
              <a:t>Receiving</a:t>
            </a:r>
            <a:r>
              <a:rPr lang="en-US" sz="2150">
                <a:ea typeface="+mn-lt"/>
                <a:cs typeface="+mn-lt"/>
              </a:rPr>
              <a:t> and </a:t>
            </a:r>
            <a:r>
              <a:rPr lang="en-US" sz="2150" b="1" i="1" u="sng">
                <a:solidFill>
                  <a:schemeClr val="accent1"/>
                </a:solidFill>
                <a:ea typeface="+mn-lt"/>
                <a:cs typeface="+mn-lt"/>
              </a:rPr>
              <a:t>reviewing</a:t>
            </a:r>
            <a:r>
              <a:rPr lang="en-US" sz="2150">
                <a:ea typeface="+mn-lt"/>
                <a:cs typeface="+mn-lt"/>
              </a:rPr>
              <a:t> regular email communication </a:t>
            </a:r>
            <a:endParaRPr lang="en-US" sz="2150"/>
          </a:p>
          <a:p>
            <a:pPr marL="0" indent="0">
              <a:buNone/>
            </a:pPr>
            <a:r>
              <a:rPr lang="en-US" sz="2150">
                <a:ea typeface="+mn-lt"/>
                <a:cs typeface="+mn-lt"/>
              </a:rPr>
              <a:t>5. </a:t>
            </a:r>
            <a:r>
              <a:rPr lang="en-US" sz="2150" b="1" i="1" u="sng">
                <a:solidFill>
                  <a:schemeClr val="accent1"/>
                </a:solidFill>
                <a:ea typeface="+mn-lt"/>
                <a:cs typeface="+mn-lt"/>
              </a:rPr>
              <a:t>Facilitating</a:t>
            </a:r>
            <a:r>
              <a:rPr lang="en-US" sz="2150">
                <a:ea typeface="+mn-lt"/>
                <a:cs typeface="+mn-lt"/>
              </a:rPr>
              <a:t> progress towards initiative goals</a:t>
            </a:r>
            <a:endParaRPr lang="en-US" sz="2150"/>
          </a:p>
        </p:txBody>
      </p:sp>
      <p:pic>
        <p:nvPicPr>
          <p:cNvPr id="5" name="Picture 4" descr="White puzzle with one red piece">
            <a:extLst>
              <a:ext uri="{FF2B5EF4-FFF2-40B4-BE49-F238E27FC236}">
                <a16:creationId xmlns:a16="http://schemas.microsoft.com/office/drawing/2014/main" id="{85183941-79CA-CE78-CFE9-5744E60880A2}"/>
              </a:ext>
            </a:extLst>
          </p:cNvPr>
          <p:cNvPicPr>
            <a:picLocks noChangeAspect="1"/>
          </p:cNvPicPr>
          <p:nvPr/>
        </p:nvPicPr>
        <p:blipFill rotWithShape="1">
          <a:blip r:embed="rId2"/>
          <a:srcRect l="23722" r="22163" b="2"/>
          <a:stretch/>
        </p:blipFill>
        <p:spPr>
          <a:xfrm>
            <a:off x="7675658" y="2093976"/>
            <a:ext cx="3941064" cy="4096512"/>
          </a:xfrm>
          <a:prstGeom prst="rect">
            <a:avLst/>
          </a:prstGeom>
        </p:spPr>
      </p:pic>
    </p:spTree>
    <p:extLst>
      <p:ext uri="{BB962C8B-B14F-4D97-AF65-F5344CB8AC3E}">
        <p14:creationId xmlns:p14="http://schemas.microsoft.com/office/powerpoint/2010/main" val="396892756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955A2079-FA98-4876-80F0-72364A7D2EA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8A2F4A8-2A1B-68A4-907D-89715DF43267}"/>
              </a:ext>
            </a:extLst>
          </p:cNvPr>
          <p:cNvSpPr>
            <a:spLocks noGrp="1"/>
          </p:cNvSpPr>
          <p:nvPr>
            <p:ph type="title"/>
          </p:nvPr>
        </p:nvSpPr>
        <p:spPr>
          <a:xfrm>
            <a:off x="838200" y="557188"/>
            <a:ext cx="10515600" cy="1133499"/>
          </a:xfrm>
        </p:spPr>
        <p:txBody>
          <a:bodyPr>
            <a:normAutofit/>
          </a:bodyPr>
          <a:lstStyle/>
          <a:p>
            <a:pPr algn="ctr"/>
            <a:r>
              <a:rPr lang="en-US" sz="5200">
                <a:ea typeface="Lato Medium"/>
                <a:cs typeface="Lato Medium"/>
              </a:rPr>
              <a:t>Role of the Team Lead</a:t>
            </a:r>
            <a:endParaRPr lang="en-US" sz="5200"/>
          </a:p>
        </p:txBody>
      </p:sp>
      <p:sp>
        <p:nvSpPr>
          <p:cNvPr id="5" name="Footer Placeholder 4">
            <a:extLst>
              <a:ext uri="{FF2B5EF4-FFF2-40B4-BE49-F238E27FC236}">
                <a16:creationId xmlns:a16="http://schemas.microsoft.com/office/drawing/2014/main" id="{6B9E88C6-ED8B-9847-E83F-7CDCFDBCA90B}"/>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EA315A7-B007-AB15-0F71-25AC96BBA8D2}"/>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7</a:t>
            </a:fld>
            <a:endParaRPr lang="en-US"/>
          </a:p>
        </p:txBody>
      </p:sp>
      <p:graphicFrame>
        <p:nvGraphicFramePr>
          <p:cNvPr id="23" name="Content Placeholder 2">
            <a:extLst>
              <a:ext uri="{FF2B5EF4-FFF2-40B4-BE49-F238E27FC236}">
                <a16:creationId xmlns:a16="http://schemas.microsoft.com/office/drawing/2014/main" id="{58252E09-F409-31E3-A13D-117EED02D797}"/>
              </a:ext>
            </a:extLst>
          </p:cNvPr>
          <p:cNvGraphicFramePr>
            <a:graphicFrameLocks noGrp="1"/>
          </p:cNvGraphicFramePr>
          <p:nvPr>
            <p:ph idx="1"/>
            <p:extLst>
              <p:ext uri="{D42A27DB-BD31-4B8C-83A1-F6EECF244321}">
                <p14:modId xmlns:p14="http://schemas.microsoft.com/office/powerpoint/2010/main" val="2988716595"/>
              </p:ext>
            </p:extLst>
          </p:nvPr>
        </p:nvGraphicFramePr>
        <p:xfrm>
          <a:off x="838200" y="1368725"/>
          <a:ext cx="11018807" cy="4884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141360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7F9F0F-427C-67B7-52A5-39AA537AA37B}"/>
              </a:ext>
            </a:extLst>
          </p:cNvPr>
          <p:cNvSpPr>
            <a:spLocks noGrp="1"/>
          </p:cNvSpPr>
          <p:nvPr>
            <p:ph type="title"/>
          </p:nvPr>
        </p:nvSpPr>
        <p:spPr/>
        <p:txBody>
          <a:bodyPr/>
          <a:lstStyle/>
          <a:p>
            <a:r>
              <a:rPr lang="en-US">
                <a:ea typeface="+mj-lt"/>
                <a:cs typeface="+mj-lt"/>
              </a:rPr>
              <a:t>ILPQC QI Support Cycle</a:t>
            </a:r>
            <a:endParaRPr lang="en-US"/>
          </a:p>
        </p:txBody>
      </p:sp>
      <p:sp>
        <p:nvSpPr>
          <p:cNvPr id="4" name="Slide Number Placeholder 3">
            <a:extLst>
              <a:ext uri="{FF2B5EF4-FFF2-40B4-BE49-F238E27FC236}">
                <a16:creationId xmlns:a16="http://schemas.microsoft.com/office/drawing/2014/main" id="{96199C57-925D-6429-48D1-168C6D7F0DEB}"/>
              </a:ext>
            </a:extLst>
          </p:cNvPr>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a:extLst>
              <a:ext uri="{FF2B5EF4-FFF2-40B4-BE49-F238E27FC236}">
                <a16:creationId xmlns:a16="http://schemas.microsoft.com/office/drawing/2014/main" id="{D2E1F7FF-FCA7-18F1-5FF0-B38EDFE09E0B}"/>
              </a:ext>
            </a:extLst>
          </p:cNvPr>
          <p:cNvSpPr>
            <a:spLocks noGrp="1"/>
          </p:cNvSpPr>
          <p:nvPr>
            <p:ph type="ftr" sz="quarter" idx="11"/>
          </p:nvPr>
        </p:nvSpPr>
        <p:spPr/>
        <p:txBody>
          <a:bodyPr/>
          <a:lstStyle/>
          <a:p>
            <a:pPr algn="l"/>
            <a:r>
              <a:rPr lang="en-US"/>
              <a:t>Illinois Perinatal Quality Collaborative</a:t>
            </a:r>
          </a:p>
        </p:txBody>
      </p:sp>
      <p:sp>
        <p:nvSpPr>
          <p:cNvPr id="6" name="Rectangle: Rounded Corners 5">
            <a:extLst>
              <a:ext uri="{FF2B5EF4-FFF2-40B4-BE49-F238E27FC236}">
                <a16:creationId xmlns:a16="http://schemas.microsoft.com/office/drawing/2014/main" id="{FE4EBB49-A66F-5372-F897-2BFD8BEEE7CD}"/>
              </a:ext>
            </a:extLst>
          </p:cNvPr>
          <p:cNvSpPr/>
          <p:nvPr/>
        </p:nvSpPr>
        <p:spPr>
          <a:xfrm>
            <a:off x="927609" y="2441546"/>
            <a:ext cx="3004867" cy="2789206"/>
          </a:xfrm>
          <a:prstGeom prst="round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8A9D18-0D03-37DC-D24A-17C6751709B7}"/>
              </a:ext>
            </a:extLst>
          </p:cNvPr>
          <p:cNvSpPr txBox="1"/>
          <p:nvPr/>
        </p:nvSpPr>
        <p:spPr>
          <a:xfrm>
            <a:off x="1201949" y="2553419"/>
            <a:ext cx="2613803" cy="29084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50000"/>
              </a:lnSpc>
            </a:pPr>
            <a:r>
              <a:rPr lang="en-US" sz="2200" b="1">
                <a:solidFill>
                  <a:schemeClr val="accent1"/>
                </a:solidFill>
              </a:rPr>
              <a:t>Quarters of Support</a:t>
            </a:r>
            <a:endParaRPr lang="en-US" sz="2200" b="1">
              <a:solidFill>
                <a:schemeClr val="accent1"/>
              </a:solidFill>
              <a:cs typeface="Calibri"/>
            </a:endParaRPr>
          </a:p>
          <a:p>
            <a:pPr>
              <a:lnSpc>
                <a:spcPct val="150000"/>
              </a:lnSpc>
            </a:pPr>
            <a:r>
              <a:rPr lang="en-US" sz="2200" b="1">
                <a:solidFill>
                  <a:schemeClr val="accent1"/>
                </a:solidFill>
              </a:rPr>
              <a:t>Q1</a:t>
            </a:r>
            <a:r>
              <a:rPr lang="en-US" sz="2200"/>
              <a:t>: Jan, Feb, March</a:t>
            </a:r>
            <a:endParaRPr lang="en-US" sz="2200">
              <a:cs typeface="Calibri"/>
            </a:endParaRPr>
          </a:p>
          <a:p>
            <a:pPr>
              <a:lnSpc>
                <a:spcPct val="150000"/>
              </a:lnSpc>
            </a:pPr>
            <a:r>
              <a:rPr lang="en-US" sz="2200" b="1">
                <a:solidFill>
                  <a:schemeClr val="accent1"/>
                </a:solidFill>
                <a:cs typeface="Calibri"/>
              </a:rPr>
              <a:t>Q2</a:t>
            </a:r>
            <a:r>
              <a:rPr lang="en-US" sz="2200">
                <a:cs typeface="Calibri"/>
              </a:rPr>
              <a:t>: April, May, June</a:t>
            </a:r>
          </a:p>
          <a:p>
            <a:pPr>
              <a:lnSpc>
                <a:spcPct val="150000"/>
              </a:lnSpc>
            </a:pPr>
            <a:r>
              <a:rPr lang="en-US" sz="2200" b="1">
                <a:solidFill>
                  <a:schemeClr val="accent1"/>
                </a:solidFill>
                <a:cs typeface="Calibri"/>
              </a:rPr>
              <a:t>Q3</a:t>
            </a:r>
            <a:r>
              <a:rPr lang="en-US" sz="2200">
                <a:cs typeface="Calibri"/>
              </a:rPr>
              <a:t>: July, Aug, Sept</a:t>
            </a:r>
          </a:p>
          <a:p>
            <a:pPr>
              <a:lnSpc>
                <a:spcPct val="150000"/>
              </a:lnSpc>
            </a:pPr>
            <a:r>
              <a:rPr lang="en-US" sz="2200" b="1">
                <a:solidFill>
                  <a:schemeClr val="accent1"/>
                </a:solidFill>
                <a:cs typeface="Calibri"/>
              </a:rPr>
              <a:t>Q4</a:t>
            </a:r>
            <a:r>
              <a:rPr lang="en-US" sz="2200">
                <a:cs typeface="Calibri"/>
              </a:rPr>
              <a:t>: Oct, Nov, Dec</a:t>
            </a:r>
          </a:p>
          <a:p>
            <a:endParaRPr lang="en-US">
              <a:cs typeface="Calibri"/>
            </a:endParaRPr>
          </a:p>
        </p:txBody>
      </p:sp>
      <p:sp>
        <p:nvSpPr>
          <p:cNvPr id="8" name="Cube 7">
            <a:extLst>
              <a:ext uri="{FF2B5EF4-FFF2-40B4-BE49-F238E27FC236}">
                <a16:creationId xmlns:a16="http://schemas.microsoft.com/office/drawing/2014/main" id="{BF1D0AF5-9B69-9C16-3B17-4A9FBC1FE6B2}"/>
              </a:ext>
            </a:extLst>
          </p:cNvPr>
          <p:cNvSpPr/>
          <p:nvPr/>
        </p:nvSpPr>
        <p:spPr>
          <a:xfrm>
            <a:off x="4906543" y="1528851"/>
            <a:ext cx="6685471" cy="4615132"/>
          </a:xfrm>
          <a:prstGeom prst="cub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3600">
                <a:ea typeface="+mn-lt"/>
                <a:cs typeface="+mn-lt"/>
              </a:rPr>
              <a:t>ILPQC provides </a:t>
            </a:r>
            <a:r>
              <a:rPr lang="en-US" sz="3600" b="1" i="1" u="sng">
                <a:ea typeface="+mn-lt"/>
                <a:cs typeface="+mn-lt"/>
              </a:rPr>
              <a:t>quarterly review and QI Support</a:t>
            </a:r>
            <a:r>
              <a:rPr lang="en-US" sz="3600">
                <a:ea typeface="+mn-lt"/>
                <a:cs typeface="+mn-lt"/>
              </a:rPr>
              <a:t> to our hospital teams for each initiative</a:t>
            </a:r>
            <a:endParaRPr lang="en-US" sz="3600"/>
          </a:p>
        </p:txBody>
      </p:sp>
    </p:spTree>
    <p:extLst>
      <p:ext uri="{BB962C8B-B14F-4D97-AF65-F5344CB8AC3E}">
        <p14:creationId xmlns:p14="http://schemas.microsoft.com/office/powerpoint/2010/main" val="5651477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FFD48BC7-DC40-47DE-87EE-9F4B6ECB9AB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9" name="Freeform: Shape 8">
            <a:extLst>
              <a:ext uri="{FF2B5EF4-FFF2-40B4-BE49-F238E27FC236}">
                <a16:creationId xmlns:a16="http://schemas.microsoft.com/office/drawing/2014/main" id="{E502BBC7-2C76-46F3-BC24-5985BC13DB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14425" y="0"/>
            <a:ext cx="9963150"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1" name="Freeform: Shape 10">
            <a:extLst>
              <a:ext uri="{FF2B5EF4-FFF2-40B4-BE49-F238E27FC236}">
                <a16:creationId xmlns:a16="http://schemas.microsoft.com/office/drawing/2014/main" id="{C7F28D52-2A5F-4D23-81AE-7CB8B591C7A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21664" y="0"/>
            <a:ext cx="9948672"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a:xfrm>
            <a:off x="1524003" y="1999615"/>
            <a:ext cx="9144000" cy="2764028"/>
          </a:xfrm>
        </p:spPr>
        <p:txBody>
          <a:bodyPr vert="horz" lIns="91440" tIns="45720" rIns="91440" bIns="45720" rtlCol="0" anchor="ctr">
            <a:normAutofit/>
          </a:bodyPr>
          <a:lstStyle/>
          <a:p>
            <a:pPr algn="ctr">
              <a:lnSpc>
                <a:spcPct val="90000"/>
              </a:lnSpc>
            </a:pPr>
            <a:r>
              <a:rPr lang="en-US" sz="6100">
                <a:solidFill>
                  <a:schemeClr val="tx1"/>
                </a:solidFill>
                <a:ea typeface="+mj-ea"/>
                <a:cs typeface="+mj-cs"/>
              </a:rPr>
              <a:t>STRATEGIES </a:t>
            </a:r>
            <a:r>
              <a:rPr lang="en-US" sz="6100" kern="1200">
                <a:solidFill>
                  <a:schemeClr val="tx1"/>
                </a:solidFill>
                <a:latin typeface="+mj-lt"/>
                <a:ea typeface="+mj-ea"/>
                <a:cs typeface="+mj-cs"/>
              </a:rPr>
              <a:t>TO BE A </a:t>
            </a:r>
            <a:r>
              <a:rPr lang="en-US" sz="6100">
                <a:solidFill>
                  <a:schemeClr val="tx1"/>
                </a:solidFill>
                <a:ea typeface="+mj-ea"/>
                <a:cs typeface="+mj-cs"/>
              </a:rPr>
              <a:t>SUCCESSFUL </a:t>
            </a:r>
            <a:r>
              <a:rPr lang="en-US" sz="6100" kern="1200">
                <a:solidFill>
                  <a:schemeClr val="tx1"/>
                </a:solidFill>
                <a:latin typeface="+mj-lt"/>
                <a:ea typeface="+mj-ea"/>
                <a:cs typeface="+mj-cs"/>
              </a:rPr>
              <a:t>QI TEAM LEAD</a:t>
            </a:r>
            <a:endParaRPr lang="en-US">
              <a:solidFill>
                <a:schemeClr val="tx1"/>
              </a:solidFill>
              <a:ea typeface="+mj-ea"/>
              <a:cs typeface="+mj-cs"/>
            </a:endParaRPr>
          </a:p>
        </p:txBody>
      </p:sp>
      <p:sp>
        <p:nvSpPr>
          <p:cNvPr id="13" name="Rectangle 12">
            <a:extLst>
              <a:ext uri="{FF2B5EF4-FFF2-40B4-BE49-F238E27FC236}">
                <a16:creationId xmlns:a16="http://schemas.microsoft.com/office/drawing/2014/main" id="{3629484E-3792-4B3D-89AD-7C8A1ED0E0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718560" y="5524786"/>
            <a:ext cx="475488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88946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a:ea typeface="Lato Medium"/>
                <a:cs typeface="Lato Medium"/>
              </a:rPr>
              <a:t> Overview</a:t>
            </a:r>
          </a:p>
        </p:txBody>
      </p:sp>
      <p:sp>
        <p:nvSpPr>
          <p:cNvPr id="16387" name="Content Placeholder 3"/>
          <p:cNvSpPr>
            <a:spLocks noGrp="1"/>
          </p:cNvSpPr>
          <p:nvPr>
            <p:ph idx="1"/>
          </p:nvPr>
        </p:nvSpPr>
        <p:spPr>
          <a:xfrm>
            <a:off x="647933" y="1485390"/>
            <a:ext cx="10882327" cy="4723251"/>
          </a:xfrm>
        </p:spPr>
        <p:txBody>
          <a:bodyPr vert="horz" lIns="91440" tIns="45720" rIns="91440" bIns="45720" rtlCol="0" anchor="t">
            <a:normAutofit/>
          </a:bodyPr>
          <a:lstStyle/>
          <a:p>
            <a:r>
              <a:rPr lang="en-US" sz="2800">
                <a:ea typeface="+mn-lt"/>
                <a:cs typeface="+mn-lt"/>
              </a:rPr>
              <a:t>Introduction to ILPQC Structure and Support </a:t>
            </a:r>
            <a:endParaRPr lang="en-US" altLang="en-US" sz="2800">
              <a:ea typeface="Lato"/>
              <a:cs typeface="Lato"/>
            </a:endParaRPr>
          </a:p>
          <a:p>
            <a:r>
              <a:rPr lang="en-US" sz="2800">
                <a:ea typeface="+mn-lt"/>
                <a:cs typeface="+mn-lt"/>
              </a:rPr>
              <a:t>What is Quality Improvement (QI)? </a:t>
            </a:r>
            <a:endParaRPr lang="en-US" altLang="en-US" sz="2800">
              <a:ea typeface="Lato"/>
              <a:cs typeface="Lato"/>
            </a:endParaRPr>
          </a:p>
          <a:p>
            <a:r>
              <a:rPr lang="en-US" sz="2800">
                <a:ea typeface="+mn-lt"/>
                <a:cs typeface="+mn-lt"/>
              </a:rPr>
              <a:t>What is the role of a QI Team Lead?</a:t>
            </a:r>
            <a:endParaRPr lang="en-US" altLang="en-US" sz="2800">
              <a:ea typeface="Lato"/>
              <a:cs typeface="Lato"/>
            </a:endParaRPr>
          </a:p>
          <a:p>
            <a:pPr lvl="1">
              <a:buClr>
                <a:srgbClr val="1C498B"/>
              </a:buClr>
              <a:buFont typeface="Courier New" panose="020B0604020202020204" pitchFamily="34" charset="0"/>
              <a:buChar char="o"/>
            </a:pPr>
            <a:r>
              <a:rPr lang="en-US" sz="2400">
                <a:ea typeface="+mn-lt"/>
                <a:cs typeface="+mn-lt"/>
              </a:rPr>
              <a:t>Role of Team Lead(s) in an ILPQC initiative  </a:t>
            </a:r>
            <a:endParaRPr lang="en-US" altLang="en-US" sz="2400">
              <a:ea typeface="Lato"/>
              <a:cs typeface="Lato"/>
            </a:endParaRPr>
          </a:p>
          <a:p>
            <a:r>
              <a:rPr lang="en-US" sz="2800">
                <a:ea typeface="+mn-lt"/>
                <a:cs typeface="+mn-lt"/>
              </a:rPr>
              <a:t>How to be a Successful QI Team Lead </a:t>
            </a:r>
            <a:endParaRPr lang="en-US" altLang="en-US" sz="2800">
              <a:ea typeface="Lato"/>
              <a:cs typeface="Lato"/>
            </a:endParaRPr>
          </a:p>
          <a:p>
            <a:r>
              <a:rPr lang="en-US" sz="2800">
                <a:ea typeface="+mn-lt"/>
                <a:cs typeface="+mn-lt"/>
              </a:rPr>
              <a:t>Where to Start: </a:t>
            </a:r>
            <a:r>
              <a:rPr lang="en-US" sz="2800">
                <a:ea typeface="Lato"/>
                <a:cs typeface="Calibri"/>
              </a:rPr>
              <a:t>1</a:t>
            </a:r>
            <a:r>
              <a:rPr lang="en-US" altLang="en-US" sz="2800">
                <a:ea typeface="Lato"/>
                <a:cs typeface="Lato"/>
              </a:rPr>
              <a:t>0 Steps for Getting ESSI Started </a:t>
            </a:r>
            <a:endParaRPr lang="en-US" altLang="en-US" sz="2800"/>
          </a:p>
          <a:p>
            <a:pPr>
              <a:buClr>
                <a:srgbClr val="F5668F"/>
              </a:buClr>
            </a:pPr>
            <a:r>
              <a:rPr lang="en-US" altLang="en-US" sz="2800">
                <a:ea typeface="Lato"/>
                <a:cs typeface="Lato"/>
              </a:rPr>
              <a:t>Q&amp;A</a:t>
            </a:r>
            <a:endParaRPr lang="en-US" altLang="en-US" sz="2800"/>
          </a:p>
          <a:p>
            <a:pPr>
              <a:buClr>
                <a:srgbClr val="F5668F"/>
              </a:buClr>
            </a:pPr>
            <a:endParaRPr lang="en-US" altLang="en-US" sz="2800"/>
          </a:p>
          <a:p>
            <a:pPr>
              <a:buClr>
                <a:srgbClr val="F5668F"/>
              </a:buClr>
            </a:pPr>
            <a:endParaRPr lang="en-US" altLang="en-US" sz="2200"/>
          </a:p>
          <a:p>
            <a:pPr>
              <a:buClr>
                <a:srgbClr val="F5668F"/>
              </a:buClr>
            </a:pPr>
            <a:endParaRPr lang="en-US" altLang="en-US" sz="2200"/>
          </a:p>
          <a:p>
            <a:pPr marL="457200" lvl="1" indent="0">
              <a:buClr>
                <a:srgbClr val="004990"/>
              </a:buClr>
              <a:buNone/>
            </a:pPr>
            <a:endParaRPr lang="en-US" altLang="en-US" sz="2200"/>
          </a:p>
          <a:p>
            <a:pPr>
              <a:buClr>
                <a:srgbClr val="F5668F"/>
              </a:buClr>
            </a:pPr>
            <a:endParaRPr lang="en-US" altLang="en-US"/>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6D1A2CED-DA9B-4CCF-8215-CFC65FE71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6" name="Rectangle 15">
            <a:extLst>
              <a:ext uri="{FF2B5EF4-FFF2-40B4-BE49-F238E27FC236}">
                <a16:creationId xmlns:a16="http://schemas.microsoft.com/office/drawing/2014/main" id="{562DFC44-A40C-4573-9230-B3EDB3EC8E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260019"/>
            <a:ext cx="11167447" cy="5933012"/>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6014FE8-DB3B-1FEE-B5A3-57CCB364F877}"/>
              </a:ext>
            </a:extLst>
          </p:cNvPr>
          <p:cNvSpPr>
            <a:spLocks noGrp="1"/>
          </p:cNvSpPr>
          <p:nvPr>
            <p:ph type="title"/>
          </p:nvPr>
        </p:nvSpPr>
        <p:spPr>
          <a:xfrm>
            <a:off x="1115568" y="509521"/>
            <a:ext cx="10232136" cy="1014984"/>
          </a:xfrm>
        </p:spPr>
        <p:txBody>
          <a:bodyPr>
            <a:normAutofit/>
          </a:bodyPr>
          <a:lstStyle/>
          <a:p>
            <a:r>
              <a:rPr lang="en-US" sz="3700">
                <a:ea typeface="+mj-lt"/>
                <a:cs typeface="+mj-lt"/>
              </a:rPr>
              <a:t>Elements and Strategies for Successful Team Leads</a:t>
            </a:r>
            <a:endParaRPr lang="en-US" sz="3700"/>
          </a:p>
        </p:txBody>
      </p:sp>
      <p:sp>
        <p:nvSpPr>
          <p:cNvPr id="18" name="Rectangle 17">
            <a:extLst>
              <a:ext uri="{FF2B5EF4-FFF2-40B4-BE49-F238E27FC236}">
                <a16:creationId xmlns:a16="http://schemas.microsoft.com/office/drawing/2014/main" id="{15589D35-CF9F-4DE9-A792-8571A09E9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658327"/>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3" name="Content Placeholder 2">
            <a:extLst>
              <a:ext uri="{FF2B5EF4-FFF2-40B4-BE49-F238E27FC236}">
                <a16:creationId xmlns:a16="http://schemas.microsoft.com/office/drawing/2014/main" id="{AE32DA6A-F062-048E-8DFA-2E4FA1B6D8B6}"/>
              </a:ext>
            </a:extLst>
          </p:cNvPr>
          <p:cNvSpPr>
            <a:spLocks/>
          </p:cNvSpPr>
          <p:nvPr/>
        </p:nvSpPr>
        <p:spPr>
          <a:xfrm>
            <a:off x="1580846" y="1673352"/>
            <a:ext cx="8941523" cy="4029134"/>
          </a:xfrm>
          <a:prstGeom prst="rect">
            <a:avLst/>
          </a:prstGeom>
        </p:spPr>
        <p:txBody>
          <a:bodyPr vert="horz" lIns="91440" tIns="45720" rIns="91440" bIns="45720" rtlCol="0" anchor="t">
            <a:noAutofit/>
          </a:bodyPr>
          <a:lstStyle/>
          <a:p>
            <a:pPr algn="ctr" defTabSz="749808">
              <a:spcAft>
                <a:spcPts val="600"/>
              </a:spcAft>
            </a:pPr>
            <a:r>
              <a:rPr lang="en-US" sz="2600" kern="1200">
                <a:latin typeface="+mn-lt"/>
                <a:ea typeface="+mn-lt"/>
                <a:cs typeface="+mn-lt"/>
              </a:rPr>
              <a:t>Team leads are the point person</a:t>
            </a:r>
            <a:r>
              <a:rPr lang="en-US" sz="2600">
                <a:ea typeface="+mn-lt"/>
                <a:cs typeface="+mn-lt"/>
              </a:rPr>
              <a:t> </a:t>
            </a:r>
            <a:endParaRPr lang="en-US" sz="2600" kern="1200">
              <a:latin typeface="+mn-lt"/>
              <a:cs typeface="Calibri"/>
            </a:endParaRPr>
          </a:p>
          <a:p>
            <a:pPr algn="ctr" defTabSz="749808">
              <a:spcAft>
                <a:spcPts val="600"/>
              </a:spcAft>
            </a:pPr>
            <a:r>
              <a:rPr lang="en-US" sz="2600" kern="1200">
                <a:latin typeface="+mn-lt"/>
                <a:ea typeface="+mn-lt"/>
                <a:cs typeface="+mn-lt"/>
              </a:rPr>
              <a:t>in the </a:t>
            </a:r>
            <a:r>
              <a:rPr lang="en-US" sz="2600" b="1" u="sng" kern="1200">
                <a:solidFill>
                  <a:schemeClr val="accent1"/>
                </a:solidFill>
                <a:latin typeface="+mn-lt"/>
                <a:ea typeface="+mn-lt"/>
                <a:cs typeface="+mn-lt"/>
              </a:rPr>
              <a:t>planning</a:t>
            </a:r>
            <a:r>
              <a:rPr lang="en-US" sz="2600" kern="1200">
                <a:latin typeface="+mn-lt"/>
                <a:ea typeface="+mn-lt"/>
                <a:cs typeface="+mn-lt"/>
              </a:rPr>
              <a:t> &amp; </a:t>
            </a:r>
            <a:r>
              <a:rPr lang="en-US" sz="2600" b="1" u="sng" kern="1200">
                <a:solidFill>
                  <a:schemeClr val="accent1"/>
                </a:solidFill>
                <a:latin typeface="+mn-lt"/>
                <a:ea typeface="+mn-lt"/>
                <a:cs typeface="+mn-lt"/>
              </a:rPr>
              <a:t>executing</a:t>
            </a:r>
            <a:r>
              <a:rPr lang="en-US" sz="2600" kern="1200">
                <a:latin typeface="+mn-lt"/>
                <a:ea typeface="+mn-lt"/>
                <a:cs typeface="+mn-lt"/>
              </a:rPr>
              <a:t> of the ILPQC Initiative</a:t>
            </a:r>
            <a:r>
              <a:rPr lang="en-US" sz="2600" kern="1200">
                <a:latin typeface="+mn-lt"/>
                <a:ea typeface="Lato"/>
                <a:cs typeface="Lato"/>
              </a:rPr>
              <a:t>.</a:t>
            </a:r>
            <a:endParaRPr lang="en-US" sz="2600"/>
          </a:p>
        </p:txBody>
      </p:sp>
      <p:sp>
        <p:nvSpPr>
          <p:cNvPr id="8" name="TextBox 7">
            <a:extLst>
              <a:ext uri="{FF2B5EF4-FFF2-40B4-BE49-F238E27FC236}">
                <a16:creationId xmlns:a16="http://schemas.microsoft.com/office/drawing/2014/main" id="{5CCC84C0-5FD0-9A5C-9052-E36422861F70}"/>
              </a:ext>
            </a:extLst>
          </p:cNvPr>
          <p:cNvSpPr txBox="1"/>
          <p:nvPr/>
        </p:nvSpPr>
        <p:spPr>
          <a:xfrm>
            <a:off x="6484394" y="2948699"/>
            <a:ext cx="4858106" cy="31239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749808">
              <a:spcAft>
                <a:spcPts val="738"/>
              </a:spcAft>
            </a:pPr>
            <a:r>
              <a:rPr lang="en-US" sz="2400" b="1" u="sng" kern="1200">
                <a:solidFill>
                  <a:schemeClr val="accent3"/>
                </a:solidFill>
                <a:latin typeface="+mn-lt"/>
                <a:ea typeface="+mn-lt"/>
                <a:cs typeface="+mn-lt"/>
              </a:rPr>
              <a:t>Executing</a:t>
            </a:r>
            <a:r>
              <a:rPr lang="en-US" sz="2400" b="1" kern="1200">
                <a:solidFill>
                  <a:schemeClr val="accent1"/>
                </a:solidFill>
                <a:latin typeface="+mn-lt"/>
                <a:ea typeface="+mn-lt"/>
                <a:cs typeface="+mn-lt"/>
              </a:rPr>
              <a:t> </a:t>
            </a:r>
            <a:r>
              <a:rPr lang="en-US" sz="2400">
                <a:solidFill>
                  <a:srgbClr val="444C55"/>
                </a:solidFill>
                <a:ea typeface="+mn-lt"/>
                <a:cs typeface="+mn-lt"/>
              </a:rPr>
              <a:t>includes: </a:t>
            </a:r>
          </a:p>
          <a:p>
            <a:pPr defTabSz="749808">
              <a:spcAft>
                <a:spcPts val="738"/>
              </a:spcAft>
            </a:pPr>
            <a:r>
              <a:rPr lang="en-US" sz="2400" kern="1200">
                <a:latin typeface="+mn-lt"/>
                <a:ea typeface="+mn-lt"/>
                <a:cs typeface="+mn-lt"/>
              </a:rPr>
              <a:t>• Leading &amp; Engaging your QI team</a:t>
            </a:r>
            <a:r>
              <a:rPr lang="en-US" sz="2400">
                <a:ea typeface="+mn-lt"/>
                <a:cs typeface="+mn-lt"/>
              </a:rPr>
              <a:t> </a:t>
            </a:r>
            <a:endParaRPr lang="en-US">
              <a:cs typeface="Calibri"/>
            </a:endParaRPr>
          </a:p>
          <a:p>
            <a:pPr defTabSz="749808">
              <a:spcAft>
                <a:spcPts val="738"/>
              </a:spcAft>
            </a:pPr>
            <a:r>
              <a:rPr lang="en-US" sz="2400" kern="1200">
                <a:latin typeface="+mn-lt"/>
                <a:ea typeface="+mn-lt"/>
                <a:cs typeface="+mn-lt"/>
              </a:rPr>
              <a:t>• PDSA cycles </a:t>
            </a:r>
            <a:endParaRPr lang="en-US" sz="2400">
              <a:cs typeface="Calibri"/>
            </a:endParaRPr>
          </a:p>
          <a:p>
            <a:pPr defTabSz="749808">
              <a:spcAft>
                <a:spcPts val="738"/>
              </a:spcAft>
            </a:pPr>
            <a:r>
              <a:rPr lang="en-US" sz="2400" kern="1200">
                <a:latin typeface="+mn-lt"/>
                <a:ea typeface="+mn-lt"/>
                <a:cs typeface="+mn-lt"/>
              </a:rPr>
              <a:t>• Establishing buy-in</a:t>
            </a:r>
            <a:r>
              <a:rPr lang="en-US" sz="2400">
                <a:ea typeface="+mn-lt"/>
                <a:cs typeface="+mn-lt"/>
              </a:rPr>
              <a:t> </a:t>
            </a:r>
            <a:endParaRPr lang="en-US" sz="2400" kern="1200">
              <a:latin typeface="+mn-lt"/>
              <a:ea typeface="+mn-lt"/>
              <a:cs typeface="+mn-lt"/>
            </a:endParaRPr>
          </a:p>
          <a:p>
            <a:pPr defTabSz="749808">
              <a:spcAft>
                <a:spcPts val="738"/>
              </a:spcAft>
            </a:pPr>
            <a:r>
              <a:rPr lang="en-US" sz="2400" kern="1200">
                <a:latin typeface="+mn-lt"/>
                <a:ea typeface="+mn-lt"/>
                <a:cs typeface="+mn-lt"/>
              </a:rPr>
              <a:t>• Reviewing &amp; presenting data</a:t>
            </a:r>
          </a:p>
          <a:p>
            <a:pPr>
              <a:spcAft>
                <a:spcPts val="738"/>
              </a:spcAft>
            </a:pPr>
            <a:r>
              <a:rPr lang="en-US" sz="2400">
                <a:cs typeface="Calibri"/>
              </a:rPr>
              <a:t>• Delegating tasks</a:t>
            </a:r>
            <a:endParaRPr lang="en-US"/>
          </a:p>
          <a:p>
            <a:endParaRPr lang="en-US">
              <a:cs typeface="Calibri"/>
            </a:endParaRPr>
          </a:p>
        </p:txBody>
      </p:sp>
      <p:sp>
        <p:nvSpPr>
          <p:cNvPr id="9" name="TextBox 8">
            <a:extLst>
              <a:ext uri="{FF2B5EF4-FFF2-40B4-BE49-F238E27FC236}">
                <a16:creationId xmlns:a16="http://schemas.microsoft.com/office/drawing/2014/main" id="{CFC17A73-E501-F3C8-23A5-1751C5930EA2}"/>
              </a:ext>
            </a:extLst>
          </p:cNvPr>
          <p:cNvSpPr txBox="1"/>
          <p:nvPr/>
        </p:nvSpPr>
        <p:spPr>
          <a:xfrm>
            <a:off x="1747938" y="2998456"/>
            <a:ext cx="4570559" cy="31393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749808">
              <a:spcBef>
                <a:spcPts val="820"/>
              </a:spcBef>
              <a:spcAft>
                <a:spcPts val="820"/>
              </a:spcAft>
            </a:pPr>
            <a:r>
              <a:rPr lang="en-US" sz="2400" b="1" u="sng" kern="1200">
                <a:solidFill>
                  <a:schemeClr val="accent3"/>
                </a:solidFill>
                <a:latin typeface="+mn-lt"/>
                <a:ea typeface="+mn-lt"/>
                <a:cs typeface="+mn-lt"/>
              </a:rPr>
              <a:t>Planning</a:t>
            </a:r>
            <a:r>
              <a:rPr lang="en-US" sz="2400" kern="1200">
                <a:latin typeface="+mn-lt"/>
                <a:ea typeface="+mn-lt"/>
                <a:cs typeface="+mn-lt"/>
              </a:rPr>
              <a:t> </a:t>
            </a:r>
            <a:r>
              <a:rPr lang="en-US" sz="2400" kern="1200">
                <a:solidFill>
                  <a:srgbClr val="444C55"/>
                </a:solidFill>
                <a:latin typeface="+mn-lt"/>
                <a:ea typeface="+mn-lt"/>
                <a:cs typeface="+mn-lt"/>
              </a:rPr>
              <a:t>includes:</a:t>
            </a:r>
            <a:endParaRPr lang="en-US" sz="2400" kern="1200">
              <a:solidFill>
                <a:srgbClr val="444C55"/>
              </a:solidFill>
              <a:latin typeface="+mn-lt"/>
              <a:cs typeface="Calibri" panose="020F0502020204030204"/>
            </a:endParaRPr>
          </a:p>
          <a:p>
            <a:pPr defTabSz="749808">
              <a:spcBef>
                <a:spcPts val="820"/>
              </a:spcBef>
              <a:spcAft>
                <a:spcPts val="820"/>
              </a:spcAft>
            </a:pPr>
            <a:r>
              <a:rPr lang="en-US" sz="2400" kern="1200">
                <a:latin typeface="+mn-lt"/>
                <a:ea typeface="+mn-lt"/>
                <a:cs typeface="+mn-lt"/>
              </a:rPr>
              <a:t>• Interactions with ILPQC </a:t>
            </a:r>
          </a:p>
          <a:p>
            <a:pPr defTabSz="749808">
              <a:spcBef>
                <a:spcPts val="820"/>
              </a:spcBef>
              <a:spcAft>
                <a:spcPts val="820"/>
              </a:spcAft>
            </a:pPr>
            <a:r>
              <a:rPr lang="en-US" sz="2400" kern="1200">
                <a:latin typeface="+mn-lt"/>
                <a:ea typeface="+mn-lt"/>
                <a:cs typeface="+mn-lt"/>
              </a:rPr>
              <a:t>• Monthly team calls/webinars </a:t>
            </a:r>
          </a:p>
          <a:p>
            <a:pPr defTabSz="749808">
              <a:spcBef>
                <a:spcPts val="820"/>
              </a:spcBef>
              <a:spcAft>
                <a:spcPts val="820"/>
              </a:spcAft>
            </a:pPr>
            <a:r>
              <a:rPr lang="en-US" sz="2400" kern="1200">
                <a:latin typeface="+mn-lt"/>
                <a:ea typeface="+mn-lt"/>
                <a:cs typeface="+mn-lt"/>
              </a:rPr>
              <a:t>• Initiative newsletters</a:t>
            </a:r>
          </a:p>
          <a:p>
            <a:pPr>
              <a:spcBef>
                <a:spcPts val="819"/>
              </a:spcBef>
              <a:spcAft>
                <a:spcPts val="819"/>
              </a:spcAft>
            </a:pPr>
            <a:r>
              <a:rPr lang="en-US" sz="2400">
                <a:ea typeface="+mn-lt"/>
                <a:cs typeface="+mn-lt"/>
              </a:rPr>
              <a:t>• Suggested agenda for meetings</a:t>
            </a:r>
            <a:endParaRPr lang="en-US"/>
          </a:p>
          <a:p>
            <a:endParaRPr lang="en-US">
              <a:solidFill>
                <a:srgbClr val="444C55"/>
              </a:solidFill>
              <a:ea typeface="+mn-lt"/>
              <a:cs typeface="+mn-lt"/>
            </a:endParaRPr>
          </a:p>
        </p:txBody>
      </p:sp>
    </p:spTree>
    <p:extLst>
      <p:ext uri="{BB962C8B-B14F-4D97-AF65-F5344CB8AC3E}">
        <p14:creationId xmlns:p14="http://schemas.microsoft.com/office/powerpoint/2010/main" val="26827500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6D1A2CED-DA9B-4CCF-8215-CFC65FE716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Rectangle 12">
            <a:extLst>
              <a:ext uri="{FF2B5EF4-FFF2-40B4-BE49-F238E27FC236}">
                <a16:creationId xmlns:a16="http://schemas.microsoft.com/office/drawing/2014/main" id="{562DFC44-A40C-4573-9230-B3EDB3EC8EE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58209" y="260019"/>
            <a:ext cx="11167447" cy="5933012"/>
          </a:xfrm>
          <a:prstGeom prst="rect">
            <a:avLst/>
          </a:prstGeom>
          <a:ln w="12700">
            <a:solidFill>
              <a:srgbClr val="DEDEDE"/>
            </a:solidFill>
          </a:ln>
          <a:effectLst>
            <a:outerShdw blurRad="50800" dist="38100" dir="2700000" algn="tl" rotWithShape="0">
              <a:schemeClr val="bg2">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21F535A-0D87-D453-2ABC-90CBA2A48D47}"/>
              </a:ext>
            </a:extLst>
          </p:cNvPr>
          <p:cNvSpPr>
            <a:spLocks noGrp="1"/>
          </p:cNvSpPr>
          <p:nvPr>
            <p:ph type="title"/>
          </p:nvPr>
        </p:nvSpPr>
        <p:spPr>
          <a:xfrm>
            <a:off x="1115568" y="509521"/>
            <a:ext cx="10232136" cy="1014984"/>
          </a:xfrm>
        </p:spPr>
        <p:txBody>
          <a:bodyPr>
            <a:normAutofit/>
          </a:bodyPr>
          <a:lstStyle/>
          <a:p>
            <a:r>
              <a:rPr lang="en-US" sz="3700">
                <a:solidFill>
                  <a:srgbClr val="1C498B"/>
                </a:solidFill>
                <a:latin typeface="Calibri"/>
                <a:ea typeface="Lato Medium"/>
                <a:cs typeface="Calibri"/>
              </a:rPr>
              <a:t>Key </a:t>
            </a:r>
            <a:r>
              <a:rPr lang="en-US" sz="3700" baseline="0">
                <a:solidFill>
                  <a:srgbClr val="1C498B"/>
                </a:solidFill>
                <a:latin typeface="Calibri"/>
                <a:ea typeface="Lato Medium"/>
                <a:cs typeface="Calibri"/>
              </a:rPr>
              <a:t>Strategies</a:t>
            </a:r>
            <a:r>
              <a:rPr lang="en-US" sz="3700">
                <a:solidFill>
                  <a:srgbClr val="1C498B"/>
                </a:solidFill>
                <a:latin typeface="Calibri"/>
                <a:ea typeface="Lato Medium"/>
                <a:cs typeface="Calibri"/>
              </a:rPr>
              <a:t> to be a Successful QI Team Lead</a:t>
            </a:r>
            <a:endParaRPr lang="en-US" sz="3700">
              <a:solidFill>
                <a:srgbClr val="1C498B"/>
              </a:solidFill>
            </a:endParaRPr>
          </a:p>
        </p:txBody>
      </p:sp>
      <p:sp>
        <p:nvSpPr>
          <p:cNvPr id="15" name="Rectangle 14">
            <a:extLst>
              <a:ext uri="{FF2B5EF4-FFF2-40B4-BE49-F238E27FC236}">
                <a16:creationId xmlns:a16="http://schemas.microsoft.com/office/drawing/2014/main" id="{15589D35-CF9F-4DE9-A792-8571A09E9B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834" y="658327"/>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a:extLst>
              <a:ext uri="{FF2B5EF4-FFF2-40B4-BE49-F238E27FC236}">
                <a16:creationId xmlns:a16="http://schemas.microsoft.com/office/drawing/2014/main" id="{BB575C24-2B60-F13E-430A-211B895B3B24}"/>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a:extLst>
              <a:ext uri="{FF2B5EF4-FFF2-40B4-BE49-F238E27FC236}">
                <a16:creationId xmlns:a16="http://schemas.microsoft.com/office/drawing/2014/main" id="{28B57A0C-40B9-446D-FBCC-2AE2520DC829}"/>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21</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0B168EAA-42E0-9A07-E345-708F5F7C614C}"/>
              </a:ext>
            </a:extLst>
          </p:cNvPr>
          <p:cNvGraphicFramePr>
            <a:graphicFrameLocks noGrp="1"/>
          </p:cNvGraphicFramePr>
          <p:nvPr>
            <p:ph idx="1"/>
            <p:extLst>
              <p:ext uri="{D42A27DB-BD31-4B8C-83A1-F6EECF244321}">
                <p14:modId xmlns:p14="http://schemas.microsoft.com/office/powerpoint/2010/main" val="2770903010"/>
              </p:ext>
            </p:extLst>
          </p:nvPr>
        </p:nvGraphicFramePr>
        <p:xfrm>
          <a:off x="1115568" y="1673352"/>
          <a:ext cx="10232136" cy="43342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57159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26F8B-9BF3-A14A-155A-4BBED8D3A4F2}"/>
              </a:ext>
            </a:extLst>
          </p:cNvPr>
          <p:cNvSpPr>
            <a:spLocks noGrp="1"/>
          </p:cNvSpPr>
          <p:nvPr>
            <p:ph type="title"/>
          </p:nvPr>
        </p:nvSpPr>
        <p:spPr>
          <a:noFill/>
        </p:spPr>
        <p:txBody>
          <a:bodyPr/>
          <a:lstStyle/>
          <a:p>
            <a:r>
              <a:rPr lang="en-US">
                <a:ea typeface="Lato Medium"/>
                <a:cs typeface="Lato Medium"/>
              </a:rPr>
              <a:t>Team Lead Quarterly Calls</a:t>
            </a:r>
            <a:endParaRPr lang="en-US"/>
          </a:p>
        </p:txBody>
      </p:sp>
      <p:sp>
        <p:nvSpPr>
          <p:cNvPr id="3" name="Content Placeholder 2">
            <a:extLst>
              <a:ext uri="{FF2B5EF4-FFF2-40B4-BE49-F238E27FC236}">
                <a16:creationId xmlns:a16="http://schemas.microsoft.com/office/drawing/2014/main" id="{93CFEAA9-8744-8A34-D609-D4A0857EBF19}"/>
              </a:ext>
            </a:extLst>
          </p:cNvPr>
          <p:cNvSpPr>
            <a:spLocks noGrp="1"/>
          </p:cNvSpPr>
          <p:nvPr>
            <p:ph idx="1"/>
          </p:nvPr>
        </p:nvSpPr>
        <p:spPr>
          <a:xfrm>
            <a:off x="609600" y="1710606"/>
            <a:ext cx="7335329" cy="4523866"/>
          </a:xfrm>
        </p:spPr>
        <p:txBody>
          <a:bodyPr vert="horz" lIns="91440" tIns="45720" rIns="91440" bIns="45720" rtlCol="0" anchor="t">
            <a:noAutofit/>
          </a:bodyPr>
          <a:lstStyle/>
          <a:p>
            <a:pPr marL="0" indent="0" algn="ctr">
              <a:buNone/>
            </a:pPr>
            <a:r>
              <a:rPr lang="en-US" sz="3200" b="1" u="sng">
                <a:solidFill>
                  <a:schemeClr val="accent3"/>
                </a:solidFill>
                <a:ea typeface="Lato"/>
                <a:cs typeface="Lato"/>
              </a:rPr>
              <a:t>Team Lead Curriculum</a:t>
            </a:r>
            <a:endParaRPr lang="en-US" sz="3200" b="1" u="sng">
              <a:solidFill>
                <a:schemeClr val="accent3"/>
              </a:solidFill>
            </a:endParaRPr>
          </a:p>
          <a:p>
            <a:pPr algn="ctr"/>
            <a:r>
              <a:rPr lang="en-US" sz="3200">
                <a:ea typeface="Lato"/>
                <a:cs typeface="Lato"/>
              </a:rPr>
              <a:t>Making and leading change—addressing resistance</a:t>
            </a:r>
            <a:endParaRPr lang="en-US" sz="3200"/>
          </a:p>
          <a:p>
            <a:pPr algn="ctr"/>
            <a:r>
              <a:rPr lang="en-US" sz="3200">
                <a:ea typeface="Lato"/>
                <a:cs typeface="Lato"/>
              </a:rPr>
              <a:t>QI science</a:t>
            </a:r>
          </a:p>
          <a:p>
            <a:pPr algn="ctr"/>
            <a:r>
              <a:rPr lang="en-US" sz="3200">
                <a:ea typeface="Lato"/>
                <a:cs typeface="Lato"/>
              </a:rPr>
              <a:t>Using data</a:t>
            </a:r>
          </a:p>
          <a:p>
            <a:pPr algn="ctr"/>
            <a:r>
              <a:rPr lang="en-US" sz="3200">
                <a:ea typeface="Lato"/>
                <a:cs typeface="Lato"/>
              </a:rPr>
              <a:t>Sustaining improvement</a:t>
            </a:r>
          </a:p>
        </p:txBody>
      </p:sp>
      <p:sp>
        <p:nvSpPr>
          <p:cNvPr id="4" name="Slide Number Placeholder 3">
            <a:extLst>
              <a:ext uri="{FF2B5EF4-FFF2-40B4-BE49-F238E27FC236}">
                <a16:creationId xmlns:a16="http://schemas.microsoft.com/office/drawing/2014/main" id="{418A5981-D1E1-54EC-8969-151130E7D8BF}"/>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1EDFAA41-152C-E519-3EF6-36FB4525272E}"/>
              </a:ext>
            </a:extLst>
          </p:cNvPr>
          <p:cNvSpPr>
            <a:spLocks noGrp="1"/>
          </p:cNvSpPr>
          <p:nvPr>
            <p:ph type="ftr" sz="quarter" idx="11"/>
          </p:nvPr>
        </p:nvSpPr>
        <p:spPr/>
        <p:txBody>
          <a:bodyPr/>
          <a:lstStyle/>
          <a:p>
            <a:pPr algn="l"/>
            <a:r>
              <a:rPr lang="en-US"/>
              <a:t>Illinois Perinatal Quality Collaborative</a:t>
            </a:r>
          </a:p>
        </p:txBody>
      </p:sp>
      <p:pic>
        <p:nvPicPr>
          <p:cNvPr id="6" name="Graphic 5" descr="Daily calendar with solid fill">
            <a:extLst>
              <a:ext uri="{FF2B5EF4-FFF2-40B4-BE49-F238E27FC236}">
                <a16:creationId xmlns:a16="http://schemas.microsoft.com/office/drawing/2014/main" id="{6C1BBFF3-333A-74DF-425B-D8A7E5FCB16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53819" y="484517"/>
            <a:ext cx="914400" cy="914400"/>
          </a:xfrm>
          <a:prstGeom prst="rect">
            <a:avLst/>
          </a:prstGeom>
        </p:spPr>
      </p:pic>
      <p:sp>
        <p:nvSpPr>
          <p:cNvPr id="7" name="Rectangle: Rounded Corners 6">
            <a:extLst>
              <a:ext uri="{FF2B5EF4-FFF2-40B4-BE49-F238E27FC236}">
                <a16:creationId xmlns:a16="http://schemas.microsoft.com/office/drawing/2014/main" id="{DBE9DDB0-1D19-176F-BA57-6C3A65F44F55}"/>
              </a:ext>
            </a:extLst>
          </p:cNvPr>
          <p:cNvSpPr/>
          <p:nvPr/>
        </p:nvSpPr>
        <p:spPr>
          <a:xfrm>
            <a:off x="8563441" y="3629133"/>
            <a:ext cx="3479321" cy="2731697"/>
          </a:xfrm>
          <a:prstGeom prst="round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b="1">
                <a:solidFill>
                  <a:schemeClr val="accent2">
                    <a:lumMod val="75000"/>
                  </a:schemeClr>
                </a:solidFill>
                <a:cs typeface="Calibri"/>
              </a:rPr>
              <a:t>Coming Soon...</a:t>
            </a:r>
          </a:p>
          <a:p>
            <a:pPr algn="ctr"/>
            <a:r>
              <a:rPr lang="en-US" b="1">
                <a:solidFill>
                  <a:schemeClr val="accent1"/>
                </a:solidFill>
                <a:cs typeface="Calibri"/>
              </a:rPr>
              <a:t>ESSI Team Lead Check-in Calls</a:t>
            </a:r>
          </a:p>
          <a:p>
            <a:pPr algn="ctr"/>
            <a:endParaRPr lang="en-US" b="1">
              <a:solidFill>
                <a:schemeClr val="accent1"/>
              </a:solidFill>
              <a:cs typeface="Calibri"/>
            </a:endParaRPr>
          </a:p>
          <a:p>
            <a:pPr algn="ctr"/>
            <a:r>
              <a:rPr lang="en-US" b="1">
                <a:solidFill>
                  <a:schemeClr val="accent1"/>
                </a:solidFill>
                <a:cs typeface="Calibri"/>
              </a:rPr>
              <a:t>Starting February 2024, 2nd Thursday of Month at 11am</a:t>
            </a:r>
            <a:endParaRPr lang="en-US">
              <a:solidFill>
                <a:schemeClr val="accent1"/>
              </a:solidFill>
            </a:endParaRPr>
          </a:p>
          <a:p>
            <a:pPr algn="ctr"/>
            <a:endParaRPr lang="en-US" b="1">
              <a:solidFill>
                <a:schemeClr val="accent1"/>
              </a:solidFill>
              <a:cs typeface="Calibri"/>
            </a:endParaRPr>
          </a:p>
          <a:p>
            <a:pPr algn="ctr"/>
            <a:r>
              <a:rPr lang="en-US" b="1">
                <a:solidFill>
                  <a:srgbClr val="FF0000"/>
                </a:solidFill>
                <a:cs typeface="Calibri"/>
              </a:rPr>
              <a:t>More information to register coming soon!</a:t>
            </a:r>
          </a:p>
        </p:txBody>
      </p:sp>
      <p:pic>
        <p:nvPicPr>
          <p:cNvPr id="8" name="Graphic 7" descr="Call center with solid fill">
            <a:extLst>
              <a:ext uri="{FF2B5EF4-FFF2-40B4-BE49-F238E27FC236}">
                <a16:creationId xmlns:a16="http://schemas.microsoft.com/office/drawing/2014/main" id="{D9FF303E-C640-AB4D-3A24-82A08FF2D1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044687" y="3244970"/>
            <a:ext cx="914400" cy="914400"/>
          </a:xfrm>
          <a:prstGeom prst="rect">
            <a:avLst/>
          </a:prstGeom>
        </p:spPr>
      </p:pic>
    </p:spTree>
    <p:extLst>
      <p:ext uri="{BB962C8B-B14F-4D97-AF65-F5344CB8AC3E}">
        <p14:creationId xmlns:p14="http://schemas.microsoft.com/office/powerpoint/2010/main" val="28012183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29CC-FC8C-ECA7-15C8-7563C27BFB95}"/>
              </a:ext>
            </a:extLst>
          </p:cNvPr>
          <p:cNvSpPr>
            <a:spLocks noGrp="1"/>
          </p:cNvSpPr>
          <p:nvPr>
            <p:ph type="title"/>
          </p:nvPr>
        </p:nvSpPr>
        <p:spPr/>
        <p:txBody>
          <a:bodyPr/>
          <a:lstStyle/>
          <a:p>
            <a:r>
              <a:rPr lang="en-US" sz="4800">
                <a:ea typeface="+mj-lt"/>
                <a:cs typeface="+mj-lt"/>
              </a:rPr>
              <a:t>WHERE TO START?</a:t>
            </a:r>
            <a:endParaRPr lang="en-US" sz="4800">
              <a:cs typeface="Calibri"/>
            </a:endParaRPr>
          </a:p>
        </p:txBody>
      </p:sp>
      <p:sp>
        <p:nvSpPr>
          <p:cNvPr id="3" name="Subtitle 2">
            <a:extLst>
              <a:ext uri="{FF2B5EF4-FFF2-40B4-BE49-F238E27FC236}">
                <a16:creationId xmlns:a16="http://schemas.microsoft.com/office/drawing/2014/main" id="{C0454086-94BF-0693-766D-F1659194519A}"/>
              </a:ext>
            </a:extLst>
          </p:cNvPr>
          <p:cNvSpPr>
            <a:spLocks noGrp="1"/>
          </p:cNvSpPr>
          <p:nvPr>
            <p:ph type="subTitle" idx="1"/>
          </p:nvPr>
        </p:nvSpPr>
        <p:spPr/>
        <p:txBody>
          <a:bodyPr vert="horz" lIns="91440" tIns="45720" rIns="91440" bIns="45720" rtlCol="0" anchor="t">
            <a:noAutofit/>
          </a:bodyPr>
          <a:lstStyle/>
          <a:p>
            <a:r>
              <a:rPr lang="en-US" sz="4800" baseline="0">
                <a:solidFill>
                  <a:srgbClr val="1C498B"/>
                </a:solidFill>
                <a:latin typeface="Calibri"/>
                <a:ea typeface="Lato"/>
                <a:cs typeface="Lato"/>
              </a:rPr>
              <a:t>ESSI 10 Steps to Getting Started</a:t>
            </a:r>
            <a:endParaRPr lang="en-US" sz="3200">
              <a:ea typeface="Lato"/>
              <a:cs typeface="Lato"/>
            </a:endParaRPr>
          </a:p>
        </p:txBody>
      </p:sp>
    </p:spTree>
    <p:extLst>
      <p:ext uri="{BB962C8B-B14F-4D97-AF65-F5344CB8AC3E}">
        <p14:creationId xmlns:p14="http://schemas.microsoft.com/office/powerpoint/2010/main" val="37457068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376744"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a:solidFill>
                  <a:srgbClr val="000000"/>
                </a:solidFill>
                <a:latin typeface="Arial Nova"/>
              </a:rPr>
              <a:t>Schedule regular </a:t>
            </a:r>
            <a:r>
              <a:rPr lang="en-US" b="1">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Complete the</a:t>
            </a:r>
            <a:r>
              <a:rPr lang="en-US" b="1">
                <a:solidFill>
                  <a:srgbClr val="000000"/>
                </a:solidFill>
                <a:latin typeface="Arial Nova"/>
              </a:rPr>
              <a:t> ESSI Teams Readiness Survey</a:t>
            </a:r>
            <a:r>
              <a:rPr lang="en-US">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042082"/>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a:solidFill>
                  <a:srgbClr val="000000"/>
                </a:solidFill>
                <a:latin typeface="Arial Nova"/>
              </a:rPr>
              <a:t>Confirm that your </a:t>
            </a:r>
            <a:r>
              <a:rPr lang="en-US" b="1">
                <a:solidFill>
                  <a:srgbClr val="000000"/>
                </a:solidFill>
                <a:latin typeface="Arial Nova"/>
              </a:rPr>
              <a:t>ESSI QI team roster</a:t>
            </a:r>
            <a:r>
              <a:rPr lang="en-US">
                <a:solidFill>
                  <a:srgbClr val="000000"/>
                </a:solidFill>
                <a:latin typeface="Arial Nova"/>
              </a:rPr>
              <a:t> is complete and up-to-date </a:t>
            </a:r>
          </a:p>
        </p:txBody>
      </p:sp>
      <p:sp>
        <p:nvSpPr>
          <p:cNvPr id="53" name="TextBox 53"/>
          <p:cNvSpPr txBox="1"/>
          <p:nvPr/>
        </p:nvSpPr>
        <p:spPr>
          <a:xfrm>
            <a:off x="7126034" y="3137056"/>
            <a:ext cx="2003723" cy="3059877"/>
          </a:xfrm>
          <a:prstGeom prst="rect">
            <a:avLst/>
          </a:prstGeom>
        </p:spPr>
        <p:txBody>
          <a:bodyPr wrap="square" lIns="0" tIns="0" rIns="0" bIns="0" rtlCol="0" anchor="t">
            <a:spAutoFit/>
          </a:bodyPr>
          <a:lstStyle/>
          <a:p>
            <a:pPr algn="ctr">
              <a:lnSpc>
                <a:spcPts val="2417"/>
              </a:lnSpc>
              <a:spcBef>
                <a:spcPct val="0"/>
              </a:spcBef>
            </a:pPr>
            <a:r>
              <a:rPr lang="en-US">
                <a:solidFill>
                  <a:srgbClr val="000000"/>
                </a:solidFill>
                <a:latin typeface="Arial Nova"/>
              </a:rPr>
              <a:t>Review the </a:t>
            </a:r>
            <a:endParaRPr lang="en-US">
              <a:cs typeface="Calibri"/>
            </a:endParaRPr>
          </a:p>
          <a:p>
            <a:pPr algn="ctr">
              <a:lnSpc>
                <a:spcPts val="2417"/>
              </a:lnSpc>
              <a:spcBef>
                <a:spcPct val="0"/>
              </a:spcBef>
            </a:pPr>
            <a:r>
              <a:rPr lang="en-US" b="1">
                <a:solidFill>
                  <a:srgbClr val="000000"/>
                </a:solidFill>
                <a:latin typeface="Arial Nova"/>
              </a:rPr>
              <a:t>ESSI Monthly Patient and Monthly Hospital Data Collection</a:t>
            </a:r>
            <a:r>
              <a:rPr lang="en-US">
                <a:solidFill>
                  <a:srgbClr val="000000"/>
                </a:solidFill>
                <a:latin typeface="Arial Nova"/>
              </a:rPr>
              <a:t> Forms with your team and discuss strategies for data collection </a:t>
            </a:r>
            <a:endParaRPr lang="en-US">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25622830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38131"/>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140065" cy="1603003"/>
          </a:xfrm>
          <a:prstGeom prst="rect">
            <a:avLst/>
          </a:prstGeom>
        </p:spPr>
        <p:txBody>
          <a:bodyPr wrap="square" lIns="0" tIns="0" rIns="0" bIns="0" rtlCol="0" anchor="t">
            <a:spAutoFit/>
          </a:bodyPr>
          <a:lstStyle/>
          <a:p>
            <a:pPr algn="ctr">
              <a:lnSpc>
                <a:spcPts val="2510"/>
              </a:lnSpc>
              <a:spcBef>
                <a:spcPct val="0"/>
              </a:spcBef>
            </a:pPr>
            <a:r>
              <a:rPr lang="en-US">
                <a:solidFill>
                  <a:srgbClr val="000000"/>
                </a:solidFill>
                <a:latin typeface="Arial Nova"/>
              </a:rPr>
              <a:t>Review your current safe sleep and respectful care </a:t>
            </a:r>
            <a:r>
              <a:rPr lang="en-US" b="1">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Begin the QI work by drafting a </a:t>
            </a:r>
            <a:r>
              <a:rPr lang="en-US" b="1">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a:solidFill>
                  <a:srgbClr val="000000"/>
                </a:solidFill>
                <a:latin typeface="Arial Nova"/>
              </a:rPr>
              <a:t>Energize and educate</a:t>
            </a:r>
            <a:r>
              <a:rPr lang="en-US">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a:solidFill>
                  <a:srgbClr val="000000"/>
                </a:solidFill>
                <a:latin typeface="Arial Nova"/>
              </a:rPr>
              <a:t>Review </a:t>
            </a:r>
            <a:r>
              <a:rPr lang="en-US" sz="1750" b="1">
                <a:solidFill>
                  <a:srgbClr val="000000"/>
                </a:solidFill>
                <a:latin typeface="Arial Nova"/>
              </a:rPr>
              <a:t>key ESSI resources </a:t>
            </a:r>
            <a:r>
              <a:rPr lang="en-US" sz="1750">
                <a:solidFill>
                  <a:srgbClr val="000000"/>
                </a:solidFill>
                <a:latin typeface="Arial Nova"/>
              </a:rPr>
              <a:t>including the Key Driver Diagram and the ESSI Online Toolkit</a:t>
            </a:r>
          </a:p>
        </p:txBody>
      </p:sp>
      <p:sp>
        <p:nvSpPr>
          <p:cNvPr id="53" name="TextBox 53"/>
          <p:cNvSpPr txBox="1"/>
          <p:nvPr/>
        </p:nvSpPr>
        <p:spPr>
          <a:xfrm>
            <a:off x="6978614" y="3464490"/>
            <a:ext cx="2280297" cy="1615827"/>
          </a:xfrm>
          <a:prstGeom prst="rect">
            <a:avLst/>
          </a:prstGeom>
        </p:spPr>
        <p:txBody>
          <a:bodyPr wrap="square" lIns="0" tIns="0" rIns="0" bIns="0" rtlCol="0" anchor="t">
            <a:spAutoFit/>
          </a:bodyPr>
          <a:lstStyle/>
          <a:p>
            <a:pPr algn="ctr">
              <a:lnSpc>
                <a:spcPts val="2137"/>
              </a:lnSpc>
            </a:pPr>
            <a:r>
              <a:rPr lang="en-US">
                <a:solidFill>
                  <a:srgbClr val="000000"/>
                </a:solidFill>
                <a:latin typeface="Arial Nova"/>
              </a:rPr>
              <a:t>Attend the </a:t>
            </a:r>
            <a:endParaRPr lang="en-US"/>
          </a:p>
          <a:p>
            <a:pPr algn="ctr">
              <a:lnSpc>
                <a:spcPts val="2137"/>
              </a:lnSpc>
            </a:pPr>
            <a:r>
              <a:rPr lang="en-US" b="1">
                <a:solidFill>
                  <a:srgbClr val="000000"/>
                </a:solidFill>
                <a:latin typeface="Arial Nova"/>
              </a:rPr>
              <a:t>upcoming ESSI webinars:</a:t>
            </a:r>
            <a:endParaRPr lang="en-US"/>
          </a:p>
          <a:p>
            <a:pPr marL="328930" lvl="1" indent="-164465">
              <a:lnSpc>
                <a:spcPts val="2137"/>
              </a:lnSpc>
              <a:buFont typeface="Arial"/>
              <a:buChar char="•"/>
            </a:pPr>
            <a:r>
              <a:rPr lang="en-US">
                <a:solidFill>
                  <a:srgbClr val="000000"/>
                </a:solidFill>
                <a:latin typeface="Arial Nova"/>
              </a:rPr>
              <a:t> ESSI Data Training Webinars</a:t>
            </a:r>
          </a:p>
          <a:p>
            <a:pPr marL="328930" lvl="1" indent="-164465">
              <a:lnSpc>
                <a:spcPts val="2137"/>
              </a:lnSpc>
              <a:buFont typeface="Arial"/>
              <a:buChar char="•"/>
            </a:pPr>
            <a:r>
              <a:rPr lang="en-US">
                <a:latin typeface="Arial Nova"/>
              </a:rPr>
              <a:t>ESSI January Call </a:t>
            </a:r>
            <a:endParaRPr lang="en-US"/>
          </a:p>
        </p:txBody>
      </p:sp>
      <p:grpSp>
        <p:nvGrpSpPr>
          <p:cNvPr id="55" name="Group 55"/>
          <p:cNvGrpSpPr/>
          <p:nvPr/>
        </p:nvGrpSpPr>
        <p:grpSpPr>
          <a:xfrm>
            <a:off x="-656998" y="6195521"/>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34729640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26</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a:ea typeface="Lato Medium"/>
                <a:cs typeface="Lato Medium"/>
              </a:rPr>
              <a:t>What should my ESSI team be working on now?</a:t>
            </a:r>
            <a:endParaRPr lang="en-US"/>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27</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515069" y="528129"/>
            <a:ext cx="10972800" cy="1325563"/>
          </a:xfrm>
        </p:spPr>
        <p:txBody>
          <a:bodyPr/>
          <a:lstStyle/>
          <a:p>
            <a:r>
              <a:rPr lang="en-US" b="0" dirty="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662959471"/>
              </p:ext>
            </p:extLst>
          </p:nvPr>
        </p:nvGraphicFramePr>
        <p:xfrm>
          <a:off x="100140" y="956828"/>
          <a:ext cx="11924290"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909871" y="557150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Tree>
    <p:extLst>
      <p:ext uri="{BB962C8B-B14F-4D97-AF65-F5344CB8AC3E}">
        <p14:creationId xmlns:p14="http://schemas.microsoft.com/office/powerpoint/2010/main" val="11418153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srcRect l="13819" t="218" r="-7" b="8867"/>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a:solidFill>
                  <a:schemeClr val="bg1"/>
                </a:solidFill>
                <a:ea typeface="+mj-ea"/>
                <a:cs typeface="+mj-cs"/>
              </a:rPr>
              <a:t>Q&amp;A</a:t>
            </a:r>
            <a:br>
              <a:rPr lang="en-US" sz="4800">
                <a:solidFill>
                  <a:schemeClr val="bg1"/>
                </a:solidFill>
                <a:ea typeface="+mj-ea"/>
                <a:cs typeface="Calibri"/>
              </a:rPr>
            </a:br>
            <a:br>
              <a:rPr lang="en-US" sz="4800">
                <a:solidFill>
                  <a:schemeClr val="bg1"/>
                </a:solidFill>
                <a:ea typeface="+mj-ea"/>
                <a:cs typeface="Calibri"/>
              </a:rPr>
            </a:br>
            <a:r>
              <a:rPr lang="en-US" sz="400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29</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p:txBody>
          <a:bodyPr/>
          <a:lstStyle/>
          <a:p>
            <a:r>
              <a:rPr lang="en-US">
                <a:ea typeface="Lato Medium"/>
                <a:cs typeface="Lato Medium"/>
              </a:rPr>
              <a:t>ILPQC </a:t>
            </a:r>
            <a:endParaRPr lang="en-US"/>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r>
              <a:rPr lang="en-US">
                <a:ea typeface="Lato"/>
                <a:cs typeface="Lato"/>
              </a:rPr>
              <a:t>Who and What is the Illinois Perinatal Quality Collaborative? </a:t>
            </a:r>
            <a:endParaRPr lang="en-US"/>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srcRect b="2609"/>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dirty="0">
                <a:solidFill>
                  <a:schemeClr val="tx1">
                    <a:lumMod val="75000"/>
                    <a:lumOff val="25000"/>
                  </a:schemeClr>
                </a:solidFill>
              </a:rPr>
              <a:pPr>
                <a:spcAft>
                  <a:spcPts val="600"/>
                </a:spcAft>
              </a:pPr>
              <a:t>30</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592654"/>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MAP</a:t>
            </a:r>
            <a:r>
              <a:rPr lang="en-US" sz="3200" spc="111">
                <a:solidFill>
                  <a:srgbClr val="000000"/>
                </a:solidFill>
                <a:latin typeface="Barlow Bold"/>
              </a:rPr>
              <a:t> </a:t>
            </a:r>
          </a:p>
          <a:p>
            <a:pPr algn="ctr">
              <a:lnSpc>
                <a:spcPts val="3733"/>
              </a:lnSpc>
            </a:pPr>
            <a:r>
              <a:rPr lang="en-US" sz="3200" b="1" spc="111">
                <a:solidFill>
                  <a:srgbClr val="094C90"/>
                </a:solidFill>
                <a:latin typeface="Barlow Bold"/>
              </a:rPr>
              <a:t>KEY DRIVER DIAGRAM</a:t>
            </a:r>
          </a:p>
        </p:txBody>
      </p:sp>
      <p:grpSp>
        <p:nvGrpSpPr>
          <p:cNvPr id="3" name="Group 3"/>
          <p:cNvGrpSpPr/>
          <p:nvPr/>
        </p:nvGrpSpPr>
        <p:grpSpPr>
          <a:xfrm rot="16200000">
            <a:off x="3395086" y="1758231"/>
            <a:ext cx="1386957" cy="3353536"/>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468529" y="1476914"/>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711722"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12" name="TextBox 12"/>
          <p:cNvSpPr txBox="1"/>
          <p:nvPr/>
        </p:nvSpPr>
        <p:spPr>
          <a:xfrm>
            <a:off x="26519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 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855956"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00184" y="1758231"/>
            <a:ext cx="1386957" cy="3353536"/>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8" name="Group 18"/>
          <p:cNvGrpSpPr/>
          <p:nvPr/>
        </p:nvGrpSpPr>
        <p:grpSpPr>
          <a:xfrm rot="16200000">
            <a:off x="8200184" y="3658708"/>
            <a:ext cx="1386957" cy="3353536"/>
            <a:chOff x="0" y="0"/>
            <a:chExt cx="635000" cy="1535372"/>
          </a:xfrm>
        </p:grpSpPr>
        <p:sp>
          <p:nvSpPr>
            <p:cNvPr id="19" name="Freeform 1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FC54D"/>
              </a:solidFill>
              <a:prstDash val="solid"/>
              <a:miter/>
            </a:ln>
          </p:spPr>
        </p:sp>
        <p:sp>
          <p:nvSpPr>
            <p:cNvPr id="20" name="TextBox 2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056454" y="1656631"/>
            <a:ext cx="1386957" cy="3353536"/>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27" name="TextBox 27"/>
          <p:cNvSpPr txBox="1"/>
          <p:nvPr/>
        </p:nvSpPr>
        <p:spPr>
          <a:xfrm>
            <a:off x="75534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primary drivers </a:t>
            </a:r>
          </a:p>
        </p:txBody>
      </p:sp>
      <p:sp>
        <p:nvSpPr>
          <p:cNvPr id="28" name="TextBox 28"/>
          <p:cNvSpPr txBox="1"/>
          <p:nvPr/>
        </p:nvSpPr>
        <p:spPr>
          <a:xfrm>
            <a:off x="7424034" y="3113772"/>
            <a:ext cx="282256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aim.</a:t>
            </a: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3395086" y="3658708"/>
            <a:ext cx="1386957" cy="3353536"/>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3418209" y="3384610"/>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1711722" y="4775438"/>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39" name="TextBox 39"/>
          <p:cNvSpPr txBox="1"/>
          <p:nvPr/>
        </p:nvSpPr>
        <p:spPr>
          <a:xfrm>
            <a:off x="26519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secondary drivers </a:t>
            </a:r>
            <a:endParaRPr lang="en-US" sz="1549" spc="49">
              <a:solidFill>
                <a:srgbClr val="FFFFFF"/>
              </a:solidFill>
              <a:latin typeface="Barlow Semi-Bold"/>
            </a:endParaRPr>
          </a:p>
        </p:txBody>
      </p:sp>
      <p:sp>
        <p:nvSpPr>
          <p:cNvPr id="40" name="TextBox 40"/>
          <p:cNvSpPr txBox="1"/>
          <p:nvPr/>
        </p:nvSpPr>
        <p:spPr>
          <a:xfrm>
            <a:off x="2580044" y="4988331"/>
            <a:ext cx="356338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primary driver.</a:t>
            </a:r>
          </a:p>
        </p:txBody>
      </p:sp>
      <p:sp>
        <p:nvSpPr>
          <p:cNvPr id="41" name="TextBox 41"/>
          <p:cNvSpPr txBox="1"/>
          <p:nvPr/>
        </p:nvSpPr>
        <p:spPr>
          <a:xfrm>
            <a:off x="1855956" y="4931561"/>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grpSp>
        <p:nvGrpSpPr>
          <p:cNvPr id="42" name="Group 42"/>
          <p:cNvGrpSpPr/>
          <p:nvPr/>
        </p:nvGrpSpPr>
        <p:grpSpPr>
          <a:xfrm rot="16200000">
            <a:off x="8056454" y="3528383"/>
            <a:ext cx="1386957" cy="3353536"/>
            <a:chOff x="0" y="0"/>
            <a:chExt cx="635000" cy="1535372"/>
          </a:xfrm>
        </p:grpSpPr>
        <p:sp>
          <p:nvSpPr>
            <p:cNvPr id="43" name="Freeform 4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4B03D"/>
            </a:solidFill>
          </p:spPr>
        </p:sp>
        <p:sp>
          <p:nvSpPr>
            <p:cNvPr id="44" name="TextBox 44"/>
            <p:cNvSpPr txBox="1"/>
            <p:nvPr/>
          </p:nvSpPr>
          <p:spPr>
            <a:xfrm>
              <a:off x="0" y="-38100"/>
              <a:ext cx="635000" cy="1459172"/>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45" name="Group 45"/>
          <p:cNvGrpSpPr>
            <a:grpSpLocks noChangeAspect="1"/>
          </p:cNvGrpSpPr>
          <p:nvPr/>
        </p:nvGrpSpPr>
        <p:grpSpPr>
          <a:xfrm>
            <a:off x="6493739" y="4775438"/>
            <a:ext cx="859425" cy="859425"/>
            <a:chOff x="0" y="0"/>
            <a:chExt cx="495300" cy="495300"/>
          </a:xfrm>
        </p:grpSpPr>
        <p:sp>
          <p:nvSpPr>
            <p:cNvPr id="46" name="Freeform 46"/>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C54D"/>
            </a:solidFill>
          </p:spPr>
        </p:sp>
        <p:sp>
          <p:nvSpPr>
            <p:cNvPr id="47" name="Freeform 47"/>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sp>
      </p:grpSp>
      <p:sp>
        <p:nvSpPr>
          <p:cNvPr id="48" name="TextBox 48"/>
          <p:cNvSpPr txBox="1"/>
          <p:nvPr/>
        </p:nvSpPr>
        <p:spPr>
          <a:xfrm>
            <a:off x="75534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change ideas</a:t>
            </a:r>
          </a:p>
        </p:txBody>
      </p:sp>
      <p:sp>
        <p:nvSpPr>
          <p:cNvPr id="49" name="TextBox 49"/>
          <p:cNvSpPr txBox="1"/>
          <p:nvPr/>
        </p:nvSpPr>
        <p:spPr>
          <a:xfrm>
            <a:off x="7556364" y="5050974"/>
            <a:ext cx="3031378"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how” we will </a:t>
            </a:r>
          </a:p>
          <a:p>
            <a:pPr>
              <a:lnSpc>
                <a:spcPts val="2799"/>
              </a:lnSpc>
              <a:spcBef>
                <a:spcPct val="0"/>
              </a:spcBef>
            </a:pPr>
            <a:r>
              <a:rPr lang="en-US" sz="2000" spc="97">
                <a:solidFill>
                  <a:srgbClr val="FFFFFF"/>
                </a:solidFill>
                <a:latin typeface="Barlow SemiCondensed"/>
              </a:rPr>
              <a:t>accomplish the aim. </a:t>
            </a:r>
          </a:p>
        </p:txBody>
      </p:sp>
      <p:sp>
        <p:nvSpPr>
          <p:cNvPr id="50" name="TextBox 50"/>
          <p:cNvSpPr txBox="1"/>
          <p:nvPr/>
        </p:nvSpPr>
        <p:spPr>
          <a:xfrm>
            <a:off x="6637973" y="4931561"/>
            <a:ext cx="570957" cy="457626"/>
          </a:xfrm>
          <a:prstGeom prst="rect">
            <a:avLst/>
          </a:prstGeom>
        </p:spPr>
        <p:txBody>
          <a:bodyPr lIns="0" tIns="0" rIns="0" bIns="0" rtlCol="0" anchor="t">
            <a:spAutoFit/>
          </a:bodyPr>
          <a:lstStyle/>
          <a:p>
            <a:pPr algn="ctr">
              <a:lnSpc>
                <a:spcPts val="3981"/>
              </a:lnSpc>
            </a:pPr>
            <a:r>
              <a:rPr lang="en-US" sz="2843" spc="119">
                <a:solidFill>
                  <a:srgbClr val="FFC54D"/>
                </a:solidFill>
                <a:latin typeface="Barlow Bold"/>
              </a:rPr>
              <a:t>04</a:t>
            </a:r>
          </a:p>
        </p:txBody>
      </p:sp>
      <p:sp>
        <p:nvSpPr>
          <p:cNvPr id="51" name="TextBox 51"/>
          <p:cNvSpPr txBox="1"/>
          <p:nvPr/>
        </p:nvSpPr>
        <p:spPr>
          <a:xfrm>
            <a:off x="3011078" y="1597250"/>
            <a:ext cx="6169846" cy="83971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spTree>
    <p:extLst>
      <p:ext uri="{BB962C8B-B14F-4D97-AF65-F5344CB8AC3E}">
        <p14:creationId xmlns:p14="http://schemas.microsoft.com/office/powerpoint/2010/main" val="3850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32</a:t>
            </a:fld>
            <a:endParaRPr lang="en-US"/>
          </a:p>
        </p:txBody>
      </p:sp>
      <p:sp>
        <p:nvSpPr>
          <p:cNvPr id="5" name="Footer Placeholder 4">
            <a:extLst>
              <a:ext uri="{FF2B5EF4-FFF2-40B4-BE49-F238E27FC236}">
                <a16:creationId xmlns:a16="http://schemas.microsoft.com/office/drawing/2014/main" id="{AE74FBFB-1843-9ED4-705E-449C6A1AC847}"/>
              </a:ext>
            </a:extLst>
          </p:cNvPr>
          <p:cNvSpPr>
            <a:spLocks noGrp="1"/>
          </p:cNvSpPr>
          <p:nvPr>
            <p:ph type="ftr" sz="quarter" idx="4294967295"/>
          </p:nvPr>
        </p:nvSpPr>
        <p:spPr>
          <a:xfrm>
            <a:off x="0" y="6356350"/>
            <a:ext cx="4114800" cy="365125"/>
          </a:xfrm>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pectful Parent and Caregiver Partnerships</a:t>
            </a:r>
            <a:endParaRPr lang="en-US" sz="1400">
              <a:solidFill>
                <a:srgbClr val="FF0000"/>
              </a:solidFill>
              <a:ea typeface="Calibri"/>
              <a:cs typeface="Calibri"/>
            </a:endParaRPr>
          </a:p>
          <a:p>
            <a:pPr marL="285750" indent="-285750">
              <a:buFont typeface="Arial" panose="020B0604020202020204" pitchFamily="34" charset="0"/>
              <a:buChar char="•"/>
            </a:pPr>
            <a:r>
              <a:rPr lang="en-US" sz="1400"/>
              <a:t>Safe Sleep Awareness</a:t>
            </a:r>
            <a:endParaRPr lang="en-US" sz="1400">
              <a:cs typeface="Calibri"/>
            </a:endParaRPr>
          </a:p>
          <a:p>
            <a:pPr marL="285750" indent="-285750">
              <a:buFont typeface="Arial" panose="020B0604020202020204" pitchFamily="34" charset="0"/>
              <a:buChar char="•"/>
            </a:pPr>
            <a:r>
              <a:rPr lang="en-US" sz="1400">
                <a:solidFill>
                  <a:schemeClr val="tx1"/>
                </a:solidFill>
              </a:rPr>
              <a:t>Transition to Home, including </a:t>
            </a:r>
            <a:r>
              <a:rPr lang="en-US" sz="1400" err="1">
                <a:solidFill>
                  <a:schemeClr val="tx1"/>
                </a:solidFill>
              </a:rPr>
              <a:t>SDoH</a:t>
            </a:r>
            <a:r>
              <a:rPr lang="en-US" sz="1400">
                <a:solidFill>
                  <a:schemeClr val="tx1"/>
                </a:solidFill>
              </a:rPr>
              <a:t> </a:t>
            </a:r>
            <a:r>
              <a:rPr lang="en-US" sz="1400">
                <a:solidFill>
                  <a:schemeClr val="tx1"/>
                </a:solidFill>
                <a:ea typeface="+mn-lt"/>
                <a:cs typeface="+mn-lt"/>
              </a:rPr>
              <a:t>Screening and Resource Linkage</a:t>
            </a:r>
            <a:endParaRPr lang="en-US" sz="140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a:t>Awareness</a:t>
            </a:r>
            <a:r>
              <a:rPr lang="en-US" sz="140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a:t>Readiness</a:t>
            </a:r>
            <a:r>
              <a:rPr lang="en-US" sz="1400"/>
              <a:t>: </a:t>
            </a:r>
            <a:r>
              <a:rPr lang="en-US" sz="1400">
                <a:solidFill>
                  <a:schemeClr val="tx1"/>
                </a:solidFill>
                <a:ea typeface="+mn-lt"/>
                <a:cs typeface="+mn-lt"/>
              </a:rPr>
              <a:t>Family is prepared for a transition to home, including </a:t>
            </a:r>
            <a:r>
              <a:rPr lang="en-US" sz="1400" err="1">
                <a:solidFill>
                  <a:schemeClr val="tx1"/>
                </a:solidFill>
                <a:ea typeface="+mn-lt"/>
                <a:cs typeface="+mn-lt"/>
              </a:rPr>
              <a:t>SDoH</a:t>
            </a:r>
            <a:r>
              <a:rPr lang="en-US" sz="1400">
                <a:solidFill>
                  <a:schemeClr val="tx1"/>
                </a:solidFill>
                <a:ea typeface="+mn-lt"/>
                <a:cs typeface="+mn-lt"/>
              </a:rPr>
              <a:t> screening and resource linkage</a:t>
            </a:r>
            <a:endParaRPr lang="en-US" sz="1400">
              <a:solidFill>
                <a:schemeClr val="tx1"/>
              </a:solidFill>
              <a:cs typeface="Calibri"/>
            </a:endParaRPr>
          </a:p>
          <a:p>
            <a:pPr marL="285750" indent="-285750">
              <a:buFont typeface="Arial" panose="020B0604020202020204" pitchFamily="34" charset="0"/>
              <a:buChar char="•"/>
            </a:pPr>
            <a:r>
              <a:rPr lang="en-US" sz="1400" b="1"/>
              <a:t>Transfer of Care</a:t>
            </a:r>
            <a:r>
              <a:rPr lang="en-US" sz="1400"/>
              <a:t>: ESSI Newborn Care Plan (Awareness &amp; Readiness) documented in the discharge </a:t>
            </a:r>
            <a:endParaRPr lang="en-US" sz="1400">
              <a:cs typeface="Calibri"/>
            </a:endParaRPr>
          </a:p>
        </p:txBody>
      </p:sp>
    </p:spTree>
    <p:extLst>
      <p:ext uri="{BB962C8B-B14F-4D97-AF65-F5344CB8AC3E}">
        <p14:creationId xmlns:p14="http://schemas.microsoft.com/office/powerpoint/2010/main" val="35739472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3056" y="230666"/>
            <a:ext cx="4985644" cy="1325562"/>
          </a:xfrm>
        </p:spPr>
        <p:txBody>
          <a:bodyPr>
            <a:normAutofit/>
          </a:bodyPr>
          <a:lstStyle/>
          <a:p>
            <a:pPr algn="l"/>
            <a:r>
              <a:rPr lang="en-US" sz="3600" b="1">
                <a:solidFill>
                  <a:schemeClr val="tx2"/>
                </a:solidFill>
              </a:rPr>
              <a:t>Step 1: </a:t>
            </a:r>
            <a:r>
              <a:rPr lang="en-US" sz="3600">
                <a:solidFill>
                  <a:schemeClr val="tx2"/>
                </a:solidFill>
              </a:rPr>
              <a:t>Establish Leadership Commitment</a:t>
            </a:r>
          </a:p>
        </p:txBody>
      </p:sp>
      <p:sp>
        <p:nvSpPr>
          <p:cNvPr id="3" name="Content Placeholder 2"/>
          <p:cNvSpPr>
            <a:spLocks noGrp="1"/>
          </p:cNvSpPr>
          <p:nvPr>
            <p:ph idx="4294967295"/>
          </p:nvPr>
        </p:nvSpPr>
        <p:spPr>
          <a:xfrm>
            <a:off x="529943" y="2152659"/>
            <a:ext cx="5051797" cy="4351338"/>
          </a:xfrm>
        </p:spPr>
        <p:txBody>
          <a:bodyPr vert="horz" lIns="91440" tIns="45720" rIns="91440" bIns="45720" rtlCol="0" anchor="t">
            <a:normAutofit/>
          </a:bodyPr>
          <a:lstStyle/>
          <a:p>
            <a:pPr marL="228600" indent="-228600">
              <a:buClr>
                <a:srgbClr val="F5668F"/>
              </a:buClr>
            </a:pPr>
            <a:r>
              <a:rPr lang="en-US" sz="2800" b="1">
                <a:solidFill>
                  <a:schemeClr val="tx1">
                    <a:lumMod val="65000"/>
                    <a:lumOff val="35000"/>
                  </a:schemeClr>
                </a:solidFill>
              </a:rPr>
              <a:t>Share the ILPQC and IDPH letter of Support with Leadership</a:t>
            </a:r>
            <a:endParaRPr lang="en-US" sz="2800">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a:buClr>
                <a:srgbClr val="F5668F"/>
              </a:buClr>
            </a:pPr>
            <a:endParaRPr lang="en-US">
              <a:solidFill>
                <a:schemeClr val="tx1">
                  <a:lumMod val="65000"/>
                  <a:lumOff val="35000"/>
                </a:schemeClr>
              </a:solidFill>
            </a:endParaRPr>
          </a:p>
          <a:p>
            <a:pPr marL="0" indent="0">
              <a:buClr>
                <a:srgbClr val="F5668F"/>
              </a:buClr>
              <a:buNone/>
            </a:pPr>
            <a:endParaRPr lang="en-US" sz="2100">
              <a:solidFill>
                <a:schemeClr val="tx1">
                  <a:lumMod val="65000"/>
                  <a:lumOff val="35000"/>
                </a:schemeClr>
              </a:solidFill>
              <a:ea typeface="Calibri"/>
              <a:cs typeface="Calibri"/>
            </a:endParaRPr>
          </a:p>
        </p:txBody>
      </p:sp>
      <p:sp>
        <p:nvSpPr>
          <p:cNvPr id="4" name="Freeform 11"/>
          <p:cNvSpPr/>
          <p:nvPr/>
        </p:nvSpPr>
        <p:spPr>
          <a:xfrm>
            <a:off x="605899" y="3746702"/>
            <a:ext cx="3190673" cy="829453"/>
          </a:xfrm>
          <a:custGeom>
            <a:avLst/>
            <a:gdLst/>
            <a:ahLst/>
            <a:cxnLst/>
            <a:rect l="l" t="t" r="r" b="b"/>
            <a:pathLst>
              <a:path w="3790822" h="1101472">
                <a:moveTo>
                  <a:pt x="0" y="0"/>
                </a:moveTo>
                <a:lnTo>
                  <a:pt x="3790822" y="0"/>
                </a:lnTo>
                <a:lnTo>
                  <a:pt x="3790822" y="1101472"/>
                </a:lnTo>
                <a:lnTo>
                  <a:pt x="0" y="1101472"/>
                </a:lnTo>
                <a:lnTo>
                  <a:pt x="0" y="0"/>
                </a:lnTo>
                <a:close/>
              </a:path>
            </a:pathLst>
          </a:custGeom>
          <a:blipFill>
            <a:blip r:embed="rId2"/>
            <a:stretch>
              <a:fillRect t="-35117" r="-125453" b="-33211"/>
            </a:stretch>
          </a:blipFill>
        </p:spPr>
      </p:sp>
      <p:grpSp>
        <p:nvGrpSpPr>
          <p:cNvPr id="5" name="Group 3"/>
          <p:cNvGrpSpPr/>
          <p:nvPr/>
        </p:nvGrpSpPr>
        <p:grpSpPr>
          <a:xfrm>
            <a:off x="5398106" y="4752671"/>
            <a:ext cx="1001973" cy="1165933"/>
            <a:chOff x="0" y="0"/>
            <a:chExt cx="698500" cy="812800"/>
          </a:xfrm>
        </p:grpSpPr>
        <p:sp>
          <p:nvSpPr>
            <p:cNvPr id="6" name="Freeform 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7" name="TextBox 5"/>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6"/>
          <p:cNvGrpSpPr/>
          <p:nvPr/>
        </p:nvGrpSpPr>
        <p:grpSpPr>
          <a:xfrm>
            <a:off x="5953818" y="3740227"/>
            <a:ext cx="1001973" cy="1165933"/>
            <a:chOff x="0" y="0"/>
            <a:chExt cx="698500" cy="812800"/>
          </a:xfrm>
        </p:grpSpPr>
        <p:sp>
          <p:nvSpPr>
            <p:cNvPr id="9" name="Freeform 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10" name="TextBox 8"/>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9"/>
          <p:cNvGrpSpPr/>
          <p:nvPr/>
        </p:nvGrpSpPr>
        <p:grpSpPr>
          <a:xfrm>
            <a:off x="5398106" y="2749246"/>
            <a:ext cx="1001973" cy="1165933"/>
            <a:chOff x="0" y="0"/>
            <a:chExt cx="698500" cy="812800"/>
          </a:xfrm>
        </p:grpSpPr>
        <p:sp>
          <p:nvSpPr>
            <p:cNvPr id="12" name="Freeform 10"/>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4B03D"/>
            </a:solidFill>
          </p:spPr>
        </p:sp>
        <p:sp>
          <p:nvSpPr>
            <p:cNvPr id="13" name="TextBox 11"/>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2"/>
          <p:cNvGrpSpPr/>
          <p:nvPr/>
        </p:nvGrpSpPr>
        <p:grpSpPr>
          <a:xfrm>
            <a:off x="5953818" y="1747533"/>
            <a:ext cx="1001973" cy="1165933"/>
            <a:chOff x="0" y="0"/>
            <a:chExt cx="698500" cy="812800"/>
          </a:xfrm>
        </p:grpSpPr>
        <p:sp>
          <p:nvSpPr>
            <p:cNvPr id="15" name="Freeform 1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16" name="TextBox 14"/>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5"/>
          <p:cNvGrpSpPr/>
          <p:nvPr/>
        </p:nvGrpSpPr>
        <p:grpSpPr>
          <a:xfrm>
            <a:off x="5398106" y="745821"/>
            <a:ext cx="1001973" cy="1165933"/>
            <a:chOff x="0" y="0"/>
            <a:chExt cx="698500" cy="812800"/>
          </a:xfrm>
        </p:grpSpPr>
        <p:sp>
          <p:nvSpPr>
            <p:cNvPr id="18" name="Freeform 1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9" name="TextBox 17"/>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Freeform 19"/>
          <p:cNvSpPr/>
          <p:nvPr/>
        </p:nvSpPr>
        <p:spPr>
          <a:xfrm>
            <a:off x="5322429" y="5677191"/>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grpSp>
        <p:nvGrpSpPr>
          <p:cNvPr id="21" name="Group 20"/>
          <p:cNvGrpSpPr/>
          <p:nvPr/>
        </p:nvGrpSpPr>
        <p:grpSpPr>
          <a:xfrm>
            <a:off x="5974771" y="5711737"/>
            <a:ext cx="1001973" cy="1165933"/>
            <a:chOff x="0" y="0"/>
            <a:chExt cx="698500" cy="812800"/>
          </a:xfrm>
        </p:grpSpPr>
        <p:sp>
          <p:nvSpPr>
            <p:cNvPr id="22"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CD7E7"/>
            </a:solidFill>
          </p:spPr>
        </p:sp>
        <p:sp>
          <p:nvSpPr>
            <p:cNvPr id="23" name="TextBox 22"/>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9"/>
          <p:cNvSpPr txBox="1"/>
          <p:nvPr/>
        </p:nvSpPr>
        <p:spPr>
          <a:xfrm>
            <a:off x="5650456" y="1171307"/>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25" name="TextBox 30"/>
          <p:cNvSpPr txBox="1"/>
          <p:nvPr/>
        </p:nvSpPr>
        <p:spPr>
          <a:xfrm>
            <a:off x="6641579" y="1182287"/>
            <a:ext cx="3386412" cy="26398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Equity and Inclusion Efforts</a:t>
            </a:r>
          </a:p>
        </p:txBody>
      </p:sp>
      <p:sp>
        <p:nvSpPr>
          <p:cNvPr id="26" name="TextBox 31"/>
          <p:cNvSpPr txBox="1"/>
          <p:nvPr/>
        </p:nvSpPr>
        <p:spPr>
          <a:xfrm>
            <a:off x="7133958" y="1869272"/>
            <a:ext cx="4243061" cy="853888"/>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Sleep-Related Infant Deaths: Updated 2022 Recommendations for Reducing Infant Deaths in the Sleep Environment</a:t>
            </a:r>
          </a:p>
        </p:txBody>
      </p:sp>
      <p:sp>
        <p:nvSpPr>
          <p:cNvPr id="27" name="TextBox 32"/>
          <p:cNvSpPr txBox="1"/>
          <p:nvPr/>
        </p:nvSpPr>
        <p:spPr>
          <a:xfrm>
            <a:off x="5395439" y="3206958"/>
            <a:ext cx="1111557" cy="277640"/>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0" i="0" u="none" strike="noStrike" kern="1200" cap="none" spc="53" normalizeH="0" baseline="0" noProof="0">
                <a:ln>
                  <a:noFill/>
                </a:ln>
                <a:solidFill>
                  <a:srgbClr val="000000"/>
                </a:solidFill>
                <a:effectLst/>
                <a:uLnTx/>
                <a:uFillTx/>
                <a:latin typeface="Barlow Semi-Bold"/>
                <a:ea typeface="+mn-ea"/>
                <a:cs typeface="+mn-cs"/>
              </a:rPr>
              <a:t>AWHONN</a:t>
            </a:r>
          </a:p>
        </p:txBody>
      </p:sp>
      <p:sp>
        <p:nvSpPr>
          <p:cNvPr id="28" name="TextBox 33"/>
          <p:cNvSpPr txBox="1"/>
          <p:nvPr/>
        </p:nvSpPr>
        <p:spPr>
          <a:xfrm>
            <a:off x="6586581" y="3154789"/>
            <a:ext cx="4309500" cy="269882"/>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Diversity, Equity, and Inclusion at AWHONN ​</a:t>
            </a:r>
          </a:p>
        </p:txBody>
      </p:sp>
      <p:sp>
        <p:nvSpPr>
          <p:cNvPr id="29" name="TextBox 34"/>
          <p:cNvSpPr txBox="1"/>
          <p:nvPr/>
        </p:nvSpPr>
        <p:spPr>
          <a:xfrm>
            <a:off x="6085595" y="4162829"/>
            <a:ext cx="738418"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0" name="TextBox 35"/>
          <p:cNvSpPr txBox="1"/>
          <p:nvPr/>
        </p:nvSpPr>
        <p:spPr>
          <a:xfrm>
            <a:off x="7133957" y="4031242"/>
            <a:ext cx="4179727" cy="564835"/>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0: Racial Disparity in the NICU (2020) ​</a:t>
            </a:r>
          </a:p>
        </p:txBody>
      </p:sp>
      <p:sp>
        <p:nvSpPr>
          <p:cNvPr id="31" name="TextBox 36"/>
          <p:cNvSpPr txBox="1"/>
          <p:nvPr/>
        </p:nvSpPr>
        <p:spPr>
          <a:xfrm>
            <a:off x="5556894" y="5203058"/>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2" name="TextBox 37"/>
          <p:cNvSpPr txBox="1"/>
          <p:nvPr/>
        </p:nvSpPr>
        <p:spPr>
          <a:xfrm>
            <a:off x="6719317" y="5011631"/>
            <a:ext cx="3386412" cy="564835"/>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5: Trauma-Informed Care in the NICU (2022)​</a:t>
            </a:r>
          </a:p>
        </p:txBody>
      </p:sp>
      <p:sp>
        <p:nvSpPr>
          <p:cNvPr id="33" name="TextBox 38"/>
          <p:cNvSpPr txBox="1"/>
          <p:nvPr/>
        </p:nvSpPr>
        <p:spPr>
          <a:xfrm>
            <a:off x="6209978" y="2215953"/>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34" name="TextBox 39"/>
          <p:cNvSpPr txBox="1"/>
          <p:nvPr/>
        </p:nvSpPr>
        <p:spPr>
          <a:xfrm>
            <a:off x="6134134" y="6137223"/>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5" name="TextBox 40"/>
          <p:cNvSpPr txBox="1"/>
          <p:nvPr/>
        </p:nvSpPr>
        <p:spPr>
          <a:xfrm>
            <a:off x="7239676" y="6143573"/>
            <a:ext cx="4137343" cy="27597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9 Recommendations for Equality in Care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6DDD1FA6-DDF8-552B-4E86-7E808427ADE7}"/>
              </a:ext>
            </a:extLst>
          </p:cNvPr>
          <p:cNvSpPr txBox="1"/>
          <p:nvPr/>
        </p:nvSpPr>
        <p:spPr>
          <a:xfrm>
            <a:off x="6688430" y="367048"/>
            <a:ext cx="565167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a:ln>
                  <a:noFill/>
                </a:ln>
                <a:solidFill>
                  <a:srgbClr val="595959"/>
                </a:solidFill>
                <a:effectLst/>
                <a:uLnTx/>
                <a:uFillTx/>
                <a:latin typeface="Calibri"/>
                <a:ea typeface="+mn-ea"/>
                <a:cs typeface="+mn-cs"/>
              </a:rPr>
              <a:t>Share National Guidelines with Leadership</a:t>
            </a:r>
            <a:endParaRPr kumimoji="0" lang="en-US" sz="1800" b="1" i="0" u="none" strike="noStrike" kern="1200" cap="none" spc="0" normalizeH="0" baseline="0" noProof="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38A58365-605F-9282-AEAB-A7E2E448F3E2}"/>
              </a:ext>
            </a:extLst>
          </p:cNvPr>
          <p:cNvSpPr/>
          <p:nvPr/>
        </p:nvSpPr>
        <p:spPr>
          <a:xfrm>
            <a:off x="708588" y="4967652"/>
            <a:ext cx="3849394" cy="156260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100">
                <a:cs typeface="Calibri"/>
              </a:rPr>
              <a:t>Visit </a:t>
            </a:r>
            <a:r>
              <a:rPr lang="en-US" sz="3100" u="sng">
                <a:cs typeface="Calibri"/>
              </a:rPr>
              <a:t>ilpqc.org/ESSI</a:t>
            </a:r>
            <a:r>
              <a:rPr lang="en-US" sz="3100">
                <a:cs typeface="Calibri"/>
              </a:rPr>
              <a:t> for the </a:t>
            </a:r>
            <a:r>
              <a:rPr lang="en-US" sz="3100" b="1">
                <a:cs typeface="Calibri"/>
              </a:rPr>
              <a:t>ILPQC/IDPH Letter of Support</a:t>
            </a:r>
            <a:endParaRPr lang="en-US" sz="3600" b="1">
              <a:cs typeface="Calibri"/>
            </a:endParaRPr>
          </a:p>
        </p:txBody>
      </p:sp>
    </p:spTree>
    <p:extLst>
      <p:ext uri="{BB962C8B-B14F-4D97-AF65-F5344CB8AC3E}">
        <p14:creationId xmlns:p14="http://schemas.microsoft.com/office/powerpoint/2010/main" val="1087542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04967" y="675564"/>
            <a:ext cx="3609833" cy="5204085"/>
          </a:xfrm>
        </p:spPr>
        <p:txBody>
          <a:bodyPr>
            <a:normAutofit/>
          </a:bodyPr>
          <a:lstStyle/>
          <a:p>
            <a:r>
              <a:rPr lang="en-US"/>
              <a:t>Step 2: </a:t>
            </a:r>
            <a:r>
              <a:rPr lang="en-US" b="0"/>
              <a:t>Schedule regular ESSI QI Team meetings</a:t>
            </a:r>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0"/>
          </p:nvPr>
        </p:nvSpPr>
        <p:spPr>
          <a:xfrm>
            <a:off x="11380641" y="0"/>
            <a:ext cx="811359" cy="704762"/>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3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6828293" y="6134382"/>
            <a:ext cx="4114800" cy="723618"/>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7" name="Content Placeholder 2">
            <a:extLst>
              <a:ext uri="{FF2B5EF4-FFF2-40B4-BE49-F238E27FC236}">
                <a16:creationId xmlns:a16="http://schemas.microsoft.com/office/drawing/2014/main" id="{F06CF2E9-18E9-F336-FAF0-9ACB11E023F2}"/>
              </a:ext>
            </a:extLst>
          </p:cNvPr>
          <p:cNvGraphicFramePr>
            <a:graphicFrameLocks noGrp="1"/>
          </p:cNvGraphicFramePr>
          <p:nvPr>
            <p:ph idx="1"/>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2532530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441096" cy="1325563"/>
          </a:xfrm>
        </p:spPr>
        <p:txBody>
          <a:bodyPr/>
          <a:lstStyle/>
          <a:p>
            <a:r>
              <a:rPr lang="en-US"/>
              <a:t>Step 3: </a:t>
            </a:r>
            <a:r>
              <a:rPr lang="en-US" b="0"/>
              <a:t>Confirm that your ESSI QI team roster is complete and up-to-date</a:t>
            </a:r>
          </a:p>
        </p:txBody>
      </p:sp>
      <p:sp>
        <p:nvSpPr>
          <p:cNvPr id="3" name="Content Placeholder 2"/>
          <p:cNvSpPr>
            <a:spLocks noGrp="1"/>
          </p:cNvSpPr>
          <p:nvPr>
            <p:ph idx="1"/>
          </p:nvPr>
        </p:nvSpPr>
        <p:spPr>
          <a:xfrm>
            <a:off x="889587" y="1874009"/>
            <a:ext cx="4283413" cy="4351338"/>
          </a:xfrm>
        </p:spPr>
        <p:txBody>
          <a:bodyPr/>
          <a:lstStyle/>
          <a:p>
            <a:r>
              <a:rPr lang="en-US"/>
              <a:t>Project Team Leader </a:t>
            </a:r>
          </a:p>
          <a:p>
            <a:r>
              <a:rPr lang="en-US"/>
              <a:t>NICU Provider Lead 	</a:t>
            </a:r>
          </a:p>
          <a:p>
            <a:r>
              <a:rPr lang="en-US"/>
              <a:t>Postpartum Provider Lead 	</a:t>
            </a:r>
          </a:p>
          <a:p>
            <a:r>
              <a:rPr lang="en-US"/>
              <a:t>NICU Nurse Lead  </a:t>
            </a:r>
          </a:p>
          <a:p>
            <a:r>
              <a:rPr lang="en-US"/>
              <a:t>Postpartum Nurse Lead </a:t>
            </a:r>
          </a:p>
          <a:p>
            <a:r>
              <a:rPr lang="en-US"/>
              <a:t>Community Pediatrician </a:t>
            </a:r>
          </a:p>
          <a:p>
            <a:r>
              <a:rPr lang="en-US"/>
              <a:t>NICU Social Worker </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Content Placeholder 2"/>
          <p:cNvSpPr txBox="1">
            <a:spLocks/>
          </p:cNvSpPr>
          <p:nvPr/>
        </p:nvSpPr>
        <p:spPr>
          <a:xfrm>
            <a:off x="5637178" y="1874009"/>
            <a:ext cx="6404043" cy="43513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ostpartum Social Work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atient Navigator / Discharge Plan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NICU Clinical Nurse Educator</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ostpartum Clinical Nurse Educato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Parent Part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Any other team members</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a:ln>
                  <a:noFill/>
                </a:ln>
                <a:solidFill>
                  <a:srgbClr val="444C55"/>
                </a:solidFill>
                <a:effectLst/>
                <a:uLnTx/>
                <a:uFillTx/>
                <a:latin typeface="Calibri" panose="020F0502020204030204"/>
              </a:rPr>
              <a:t>Who is going to enter data for the ESSI initiative and will need </a:t>
            </a:r>
            <a:r>
              <a:rPr kumimoji="0" lang="en-US" sz="2400" b="0" i="0" u="none" strike="noStrike" kern="1200" cap="none" spc="0" normalizeH="0" baseline="0" noProof="0" err="1">
                <a:ln>
                  <a:noFill/>
                </a:ln>
                <a:solidFill>
                  <a:srgbClr val="444C55"/>
                </a:solidFill>
                <a:effectLst/>
                <a:uLnTx/>
                <a:uFillTx/>
                <a:latin typeface="Calibri" panose="020F0502020204030204"/>
              </a:rPr>
              <a:t>REDCap</a:t>
            </a:r>
            <a:r>
              <a:rPr kumimoji="0" lang="en-US" sz="2400" b="0" i="0" u="none" strike="noStrike" kern="1200" cap="none" spc="0" normalizeH="0" baseline="0" noProof="0">
                <a:ln>
                  <a:noFill/>
                </a:ln>
                <a:solidFill>
                  <a:srgbClr val="444C55"/>
                </a:solidFill>
                <a:effectLst/>
                <a:uLnTx/>
                <a:uFillTx/>
                <a:latin typeface="Calibri" panose="020F0502020204030204"/>
              </a:rPr>
              <a:t> access?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endParaRPr kumimoji="0" lang="en-US" sz="2400" b="0" i="0" u="none" strike="noStrike" kern="1200" cap="none" spc="0" normalizeH="0" baseline="0" noProof="0">
              <a:ln>
                <a:noFill/>
              </a:ln>
              <a:solidFill>
                <a:srgbClr val="444C55"/>
              </a:solidFill>
              <a:effectLst/>
              <a:uLnTx/>
              <a:uFillTx/>
              <a:latin typeface="Calibri" panose="020F0502020204030204"/>
            </a:endParaRPr>
          </a:p>
        </p:txBody>
      </p:sp>
    </p:spTree>
    <p:extLst>
      <p:ext uri="{BB962C8B-B14F-4D97-AF65-F5344CB8AC3E}">
        <p14:creationId xmlns:p14="http://schemas.microsoft.com/office/powerpoint/2010/main" val="2091162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ep 4: </a:t>
            </a:r>
            <a:r>
              <a:rPr lang="en-US" b="0"/>
              <a:t>Review ESSI Data Forms</a:t>
            </a: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31254089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a:t>Hospital Level Data form: </a:t>
            </a:r>
            <a:r>
              <a:rPr lang="en-US" b="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a:lstStyle/>
          <a:p>
            <a:pPr fontAlgn="t">
              <a:spcBef>
                <a:spcPts val="0"/>
              </a:spcBef>
            </a:pPr>
            <a:r>
              <a:rPr lang="en-US" sz="1800"/>
              <a:t>Hospital has </a:t>
            </a:r>
            <a:r>
              <a:rPr lang="en-US" sz="1800" b="1" u="sng"/>
              <a:t>standardized provider and hospital staff education about listening to parents and caregivers, providing respectful care and building trust, addressing implicit bias and engaging in anti-racism</a:t>
            </a:r>
            <a:r>
              <a:rPr lang="en-US" sz="1800"/>
              <a:t>.</a:t>
            </a:r>
          </a:p>
          <a:p>
            <a:pPr fontAlgn="t">
              <a:spcBef>
                <a:spcPts val="0"/>
              </a:spcBef>
            </a:pPr>
            <a:r>
              <a:rPr lang="en-US" sz="1800"/>
              <a:t>Hospital has standardized </a:t>
            </a:r>
            <a:r>
              <a:rPr lang="en-US" sz="1800" b="1" u="sng"/>
              <a:t>provider and hospital staff education about the importance of a safe sleep environment </a:t>
            </a:r>
            <a:r>
              <a:rPr lang="en-US" sz="1800"/>
              <a:t>and engaging in meaningful, culturally appropriate, respectful, nonjudgmental conversations with parents or caregivers about safe sleep.  </a:t>
            </a:r>
          </a:p>
          <a:p>
            <a:pPr fontAlgn="t">
              <a:spcBef>
                <a:spcPts val="0"/>
              </a:spcBef>
            </a:pPr>
            <a:r>
              <a:rPr lang="en-US" sz="1800"/>
              <a:t>Hospital has a standardized practice of </a:t>
            </a:r>
            <a:r>
              <a:rPr lang="en-US" sz="1800" b="1" u="sng"/>
              <a:t>promoting a safe sleep environment </a:t>
            </a:r>
            <a:r>
              <a:rPr lang="en-US" sz="1800"/>
              <a:t>in the hospital setting in accordance with the 2022 AAP Recommendations.  </a:t>
            </a:r>
          </a:p>
          <a:p>
            <a:pPr fontAlgn="t">
              <a:spcBef>
                <a:spcPts val="0"/>
              </a:spcBef>
            </a:pPr>
            <a:r>
              <a:rPr lang="en-US" sz="1800"/>
              <a:t>Hospital has a </a:t>
            </a:r>
            <a:r>
              <a:rPr lang="en-US" sz="1800" b="1" u="sng"/>
              <a:t>policy in place for safe sleep practices</a:t>
            </a:r>
            <a:r>
              <a:rPr lang="en-US" sz="1800"/>
              <a:t> reflective of the 2022 AAP Recommendations.</a:t>
            </a:r>
          </a:p>
          <a:p>
            <a:pPr fontAlgn="t">
              <a:spcBef>
                <a:spcPts val="0"/>
              </a:spcBef>
            </a:pPr>
            <a:r>
              <a:rPr lang="en-US" sz="1800"/>
              <a:t>Hospital has a standardized process to use </a:t>
            </a:r>
            <a:r>
              <a:rPr lang="en-US" sz="1800" b="1" u="sng"/>
              <a:t>qualified language interpreters </a:t>
            </a:r>
            <a:r>
              <a:rPr lang="en-US" sz="1800"/>
              <a:t>in parents/caregivers’ preferred language.</a:t>
            </a:r>
          </a:p>
          <a:p>
            <a:pPr fontAlgn="t">
              <a:spcBef>
                <a:spcPts val="0"/>
              </a:spcBef>
            </a:pPr>
            <a:r>
              <a:rPr lang="en-US" sz="1800"/>
              <a:t>Hospital has a standardized process for </a:t>
            </a:r>
            <a:r>
              <a:rPr lang="en-US" sz="1800" b="1" u="sng"/>
              <a:t>reviewing all unit policies with an equity lens </a:t>
            </a:r>
            <a:r>
              <a:rPr lang="en-US" sz="1800"/>
              <a:t>and making necessary changes.  </a:t>
            </a:r>
          </a:p>
          <a:p>
            <a:pPr fontAlgn="t">
              <a:spcBef>
                <a:spcPts val="0"/>
              </a:spcBef>
            </a:pPr>
            <a:r>
              <a:rPr lang="en-US" sz="1800"/>
              <a:t>Hospital has </a:t>
            </a:r>
            <a:r>
              <a:rPr lang="en-US" sz="1800" b="1" u="sng"/>
              <a:t>parent(s) and/or caregiver(s) on the newborn quality improvement team</a:t>
            </a:r>
          </a:p>
        </p:txBody>
      </p:sp>
    </p:spTree>
    <p:extLst>
      <p:ext uri="{BB962C8B-B14F-4D97-AF65-F5344CB8AC3E}">
        <p14:creationId xmlns:p14="http://schemas.microsoft.com/office/powerpoint/2010/main" val="9569779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a:t>Hospital Level Data form: </a:t>
            </a:r>
            <a:r>
              <a:rPr lang="en-US" b="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511629" y="1488168"/>
            <a:ext cx="10972800" cy="4351338"/>
          </a:xfrm>
        </p:spPr>
        <p:txBody>
          <a:bodyPr/>
          <a:lstStyle/>
          <a:p>
            <a:pPr fontAlgn="t"/>
            <a:r>
              <a:rPr lang="en-US" b="1"/>
              <a:t>Hospital has a standardized process to….</a:t>
            </a:r>
          </a:p>
          <a:p>
            <a:pPr lvl="1" fontAlgn="t"/>
            <a:r>
              <a:rPr lang="en-US" sz="1800"/>
              <a:t>Provide parents or caregivers </a:t>
            </a:r>
            <a:r>
              <a:rPr lang="en-US" sz="1800" b="1" u="sng"/>
              <a:t>culturally responsive safe sleep education</a:t>
            </a:r>
            <a:r>
              <a:rPr lang="en-US" sz="1800"/>
              <a:t> including awareness of potential challenges, modeling, and teach back opportunities during hospitalization.</a:t>
            </a:r>
          </a:p>
          <a:p>
            <a:pPr lvl="1" fontAlgn="t"/>
            <a:r>
              <a:rPr lang="en-US" sz="1800"/>
              <a:t>Identify </a:t>
            </a:r>
            <a:r>
              <a:rPr lang="en-US" sz="1800" b="1" u="sng"/>
              <a:t>barriers to providing a safe sleep environment </a:t>
            </a:r>
            <a:r>
              <a:rPr lang="en-US" sz="1800"/>
              <a:t>outside of the hospital.</a:t>
            </a:r>
          </a:p>
          <a:p>
            <a:pPr lvl="1" fontAlgn="t"/>
            <a:r>
              <a:rPr lang="en-US" sz="1800"/>
              <a:t>Provide </a:t>
            </a:r>
            <a:r>
              <a:rPr lang="en-US" sz="1800" b="1" u="sng"/>
              <a:t>resources to enable a safe sleep environment </a:t>
            </a:r>
            <a:r>
              <a:rPr lang="en-US" sz="1800"/>
              <a:t>outside of the hospital.</a:t>
            </a:r>
          </a:p>
          <a:p>
            <a:pPr lvl="1" fontAlgn="t"/>
            <a:r>
              <a:rPr lang="en-US" sz="1800"/>
              <a:t>Screen for </a:t>
            </a:r>
            <a:r>
              <a:rPr lang="en-US" sz="1800" b="1" u="sng"/>
              <a:t>newborn inclusive Social Determinants of Health </a:t>
            </a:r>
            <a:r>
              <a:rPr lang="en-US" sz="1800"/>
              <a:t>and to link to needed resources.</a:t>
            </a:r>
          </a:p>
          <a:p>
            <a:pPr lvl="1" fontAlgn="t"/>
            <a:r>
              <a:rPr lang="en-US" sz="1800" b="1" u="sng"/>
              <a:t>Transfer of care </a:t>
            </a:r>
            <a:r>
              <a:rPr lang="en-US" sz="1800"/>
              <a:t>to the newborn’s community provider, including documentation of ESSI Newborn Care Plan.</a:t>
            </a:r>
          </a:p>
          <a:p>
            <a:pPr lvl="1" fontAlgn="t"/>
            <a:r>
              <a:rPr lang="en-US" sz="1800"/>
              <a:t>The collection of </a:t>
            </a:r>
            <a:r>
              <a:rPr lang="en-US" sz="1800" b="1" u="sng"/>
              <a:t>parent-reported newborn race and ethnicity data</a:t>
            </a:r>
            <a:r>
              <a:rPr lang="en-US" sz="1800"/>
              <a:t>.</a:t>
            </a:r>
          </a:p>
          <a:p>
            <a:pPr lvl="1" fontAlgn="t"/>
            <a:r>
              <a:rPr lang="en-US" sz="1800" b="1" u="sng"/>
              <a:t>Stratify and share neonatal data </a:t>
            </a:r>
            <a:r>
              <a:rPr lang="en-US" sz="1800"/>
              <a:t>by birthing person’s race, ethnicity, and insurance status.</a:t>
            </a:r>
          </a:p>
          <a:p>
            <a:pPr lvl="1" fontAlgn="t"/>
            <a:r>
              <a:rPr lang="en-US" sz="1800" b="1" u="sng"/>
              <a:t>Address disparities </a:t>
            </a:r>
            <a:r>
              <a:rPr lang="en-US" sz="1800"/>
              <a:t>based on review of neonatal outcomes stratified by birthing person’s race, ethnicity, and insurance status.</a:t>
            </a:r>
          </a:p>
          <a:p>
            <a:pPr marL="342900" indent="-342900">
              <a:buFont typeface="+mj-lt"/>
              <a:buAutoNum type="arabicPeriod"/>
            </a:pPr>
            <a:endParaRPr lang="en-US" sz="1800"/>
          </a:p>
        </p:txBody>
      </p:sp>
    </p:spTree>
    <p:extLst>
      <p:ext uri="{BB962C8B-B14F-4D97-AF65-F5344CB8AC3E}">
        <p14:creationId xmlns:p14="http://schemas.microsoft.com/office/powerpoint/2010/main" val="34479345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p:spPr>
        <p:txBody>
          <a:bodyPr/>
          <a:lstStyle/>
          <a:p>
            <a:r>
              <a:rPr lang="en-US"/>
              <a:t>Hospital Level Data Form: </a:t>
            </a:r>
            <a:br>
              <a:rPr lang="en-US"/>
            </a:br>
            <a:r>
              <a:rPr lang="en-US" b="0"/>
              <a:t>Safe Sleep Environment Audit</a:t>
            </a:r>
          </a:p>
        </p:txBody>
      </p:sp>
      <p:graphicFrame>
        <p:nvGraphicFramePr>
          <p:cNvPr id="6" name="Content Placeholder 5"/>
          <p:cNvGraphicFramePr>
            <a:graphicFrameLocks noGrp="1"/>
          </p:cNvGraphicFramePr>
          <p:nvPr>
            <p:ph idx="1"/>
          </p:nvPr>
        </p:nvGraphicFramePr>
        <p:xfrm>
          <a:off x="6306819" y="2406209"/>
          <a:ext cx="5275581" cy="3179848"/>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a:effectLst/>
                        </a:rPr>
                        <a:t>Postpartum Unit</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a:effectLst/>
                        </a:rPr>
                        <a:t>Number of audited infants on Postpartum unit noted to be in a safe sleep environment</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a:effectLst/>
                        </a:rPr>
                        <a:t>Special Care Nursery or NICU</a:t>
                      </a:r>
                      <a:endParaRPr lang="en-US"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Special Care Nursery or NICU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a:effectLst/>
                        </a:rPr>
                        <a:t>Number of audited infants on Special Care Nursery or NICU noted to be in a safe sleep environment</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3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7821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a:t>Please conduct audits on both day shift and night shift </a:t>
            </a:r>
            <a:endParaRPr lang="en-US">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39100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78"/>
        <p:cNvGrpSpPr/>
        <p:nvPr/>
      </p:nvGrpSpPr>
      <p:grpSpPr>
        <a:xfrm>
          <a:off x="0" y="0"/>
          <a:ext cx="0" cy="0"/>
          <a:chOff x="0" y="0"/>
          <a:chExt cx="0" cy="0"/>
        </a:xfrm>
      </p:grpSpPr>
      <p:sp>
        <p:nvSpPr>
          <p:cNvPr id="3779" name="Google Shape;3779;p410"/>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0" name="Google Shape;3780;p410"/>
          <p:cNvSpPr txBox="1">
            <a:spLocks noGrp="1"/>
          </p:cNvSpPr>
          <p:nvPr>
            <p:ph type="title"/>
          </p:nvPr>
        </p:nvSpPr>
        <p:spPr>
          <a:xfrm>
            <a:off x="625703" y="387671"/>
            <a:ext cx="5144979" cy="1956841"/>
          </a:xfrm>
          <a:prstGeom prst="rect">
            <a:avLst/>
          </a:prstGeom>
          <a:noFill/>
          <a:ln>
            <a:noFill/>
          </a:ln>
        </p:spPr>
        <p:txBody>
          <a:bodyPr spcFirstLastPara="1" wrap="square" lIns="91425" tIns="45700" rIns="91425" bIns="45700" anchor="b" anchorCtr="0">
            <a:normAutofit/>
          </a:bodyPr>
          <a:lstStyle/>
          <a:p>
            <a:r>
              <a:rPr lang="en-US" b="1">
                <a:solidFill>
                  <a:srgbClr val="1C498B"/>
                </a:solidFill>
                <a:latin typeface="Calibri"/>
                <a:ea typeface="Lato Medium"/>
                <a:cs typeface="Calibri"/>
              </a:rPr>
              <a:t>Illinois Perinatal Quality Collaborative (ILPQC)</a:t>
            </a:r>
            <a:r>
              <a:rPr lang="en-US" b="1">
                <a:latin typeface="Calibri"/>
                <a:ea typeface="Lato Medium"/>
                <a:cs typeface="Calibri"/>
              </a:rPr>
              <a:t> </a:t>
            </a:r>
            <a:endParaRPr lang="en-US">
              <a:ea typeface="Lato Medium"/>
            </a:endParaRPr>
          </a:p>
        </p:txBody>
      </p:sp>
      <p:sp>
        <p:nvSpPr>
          <p:cNvPr id="3781" name="Google Shape;3781;p410"/>
          <p:cNvSpPr/>
          <p:nvPr/>
        </p:nvSpPr>
        <p:spPr>
          <a:xfrm>
            <a:off x="640080" y="2586994"/>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2" name="Google Shape;3782;p410"/>
          <p:cNvSpPr txBox="1">
            <a:spLocks noGrp="1"/>
          </p:cNvSpPr>
          <p:nvPr>
            <p:ph type="body" idx="1"/>
          </p:nvPr>
        </p:nvSpPr>
        <p:spPr>
          <a:xfrm>
            <a:off x="625969" y="2802344"/>
            <a:ext cx="4257700" cy="391333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200">
                <a:latin typeface="Calibri"/>
                <a:ea typeface="Calibri"/>
                <a:cs typeface="Calibri"/>
                <a:sym typeface="Calibri"/>
              </a:rPr>
              <a:t>Statewide network of hospital teams, perinatal clinicians, patients, community partners, and public health leaders.</a:t>
            </a:r>
            <a:endParaRPr sz="2200">
              <a:latin typeface="Calibri"/>
              <a:ea typeface="Calibri"/>
              <a:cs typeface="Calibri"/>
              <a:sym typeface="Calibri"/>
            </a:endParaRPr>
          </a:p>
          <a:p>
            <a:pPr marL="0" lvl="0" indent="0" algn="l" rtl="0">
              <a:lnSpc>
                <a:spcPct val="100000"/>
              </a:lnSpc>
              <a:spcBef>
                <a:spcPts val="0"/>
              </a:spcBef>
              <a:spcAft>
                <a:spcPts val="0"/>
              </a:spcAft>
              <a:buSzPts val="2200"/>
              <a:buNone/>
            </a:pPr>
            <a:endParaRPr sz="2200">
              <a:latin typeface="Calibri"/>
              <a:ea typeface="Calibri"/>
              <a:cs typeface="Calibri"/>
              <a:sym typeface="Calibri"/>
            </a:endParaRPr>
          </a:p>
          <a:p>
            <a:pPr marL="0" lvl="0" indent="0" algn="l" rtl="0">
              <a:lnSpc>
                <a:spcPct val="100000"/>
              </a:lnSpc>
              <a:spcBef>
                <a:spcPts val="0"/>
              </a:spcBef>
              <a:spcAft>
                <a:spcPts val="0"/>
              </a:spcAft>
              <a:buSzPts val="2200"/>
              <a:buNone/>
            </a:pPr>
            <a:r>
              <a:rPr lang="en-US" sz="2200" b="1">
                <a:latin typeface="Calibri"/>
                <a:ea typeface="Calibri"/>
                <a:cs typeface="Calibri"/>
                <a:sym typeface="Calibri"/>
              </a:rPr>
              <a:t>Committed to equitably improving outcomes and reducing disparities for birthing people and newborns in Illinois.</a:t>
            </a: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p:txBody>
      </p:sp>
      <p:pic>
        <p:nvPicPr>
          <p:cNvPr id="3783" name="Google Shape;3783;p410" descr="A group of people posing for a photo&#10;&#10;Description automatically generated"/>
          <p:cNvPicPr preferRelativeResize="0"/>
          <p:nvPr/>
        </p:nvPicPr>
        <p:blipFill rotWithShape="1">
          <a:blip r:embed="rId3">
            <a:alphaModFix/>
          </a:blip>
          <a:srcRect b="-2101"/>
          <a:stretch/>
        </p:blipFill>
        <p:spPr>
          <a:xfrm>
            <a:off x="5311702" y="10"/>
            <a:ext cx="8961556" cy="6872070"/>
          </a:xfrm>
          <a:custGeom>
            <a:avLst/>
            <a:gdLst/>
            <a:ahLst/>
            <a:cxnLst/>
            <a:rect l="l" t="t" r="r" b="b"/>
            <a:pathLst>
              <a:path w="6878775" h="6858000" extrusionOk="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solidFill>
            <a:srgbClr val="ECECEC"/>
          </a:solidFill>
          <a:ln>
            <a:noFill/>
          </a:ln>
        </p:spPr>
      </p:pic>
    </p:spTree>
    <p:extLst>
      <p:ext uri="{BB962C8B-B14F-4D97-AF65-F5344CB8AC3E}">
        <p14:creationId xmlns:p14="http://schemas.microsoft.com/office/powerpoint/2010/main" val="38590341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9999CF8B-CF36-4D83-8D39-AFC5726036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2706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22899" y="540167"/>
            <a:ext cx="5828376" cy="2135867"/>
          </a:xfrm>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40</a:t>
            </a:fld>
            <a:endParaRPr lang="en-US"/>
          </a:p>
        </p:txBody>
      </p:sp>
      <p:sp>
        <p:nvSpPr>
          <p:cNvPr id="10" name="Content Placeholder 9"/>
          <p:cNvSpPr>
            <a:spLocks noGrp="1"/>
          </p:cNvSpPr>
          <p:nvPr>
            <p:ph idx="1"/>
          </p:nvPr>
        </p:nvSpPr>
        <p:spPr>
          <a:xfrm>
            <a:off x="422899" y="2880452"/>
            <a:ext cx="5828376" cy="3095445"/>
          </a:xfrm>
        </p:spPr>
        <p:txBody>
          <a:bodyPr anchor="t">
            <a:normAutofit/>
          </a:bodyPr>
          <a:lstStyle/>
          <a:p>
            <a:r>
              <a:rPr lang="en-US" sz="1800"/>
              <a:t>Percentage of physicians and providers, nurses, ancillary clinicians, and other staff completing education about…</a:t>
            </a:r>
          </a:p>
          <a:p>
            <a:pPr lvl="1"/>
            <a:r>
              <a:rPr lang="en-US" sz="1800"/>
              <a:t>listening to parents and caregivers, providing respectful care and building trust, addressing implicit bias and engaging in anti-racism </a:t>
            </a:r>
          </a:p>
          <a:p>
            <a:pPr lvl="1"/>
            <a:r>
              <a:rPr lang="en-US" sz="1800"/>
              <a:t>the importance of safe sleep and how to effectively educate parents or caregivers</a:t>
            </a:r>
          </a:p>
          <a:p>
            <a:pPr marL="0" indent="0">
              <a:buNone/>
            </a:pPr>
            <a:endParaRPr lang="en-US" sz="1800"/>
          </a:p>
        </p:txBody>
      </p:sp>
      <p:sp>
        <p:nvSpPr>
          <p:cNvPr id="22" name="Rectangle 21">
            <a:extLst>
              <a:ext uri="{FF2B5EF4-FFF2-40B4-BE49-F238E27FC236}">
                <a16:creationId xmlns:a16="http://schemas.microsoft.com/office/drawing/2014/main" id="{91F6D5B9-3D1A-4091-825E-F687A58ADD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6748001" y="6120955"/>
            <a:ext cx="4621365" cy="737479"/>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srcRect l="49386" r="556" b="6"/>
          <a:stretch/>
        </p:blipFill>
        <p:spPr>
          <a:xfrm>
            <a:off x="6748002" y="-1"/>
            <a:ext cx="4612337" cy="6149783"/>
          </a:xfrm>
          <a:prstGeom prst="rect">
            <a:avLst/>
          </a:prstGeom>
        </p:spPr>
      </p:pic>
      <p:cxnSp>
        <p:nvCxnSpPr>
          <p:cNvPr id="24" name="Straight Connector 23">
            <a:extLst>
              <a:ext uri="{FF2B5EF4-FFF2-40B4-BE49-F238E27FC236}">
                <a16:creationId xmlns:a16="http://schemas.microsoft.com/office/drawing/2014/main" id="{F085D7B9-E066-4923-8CB7-294BF306296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443840-A796-4C43-8DC1-1B738EFEC52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5193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576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tient Level Data Form</a:t>
            </a:r>
          </a:p>
        </p:txBody>
      </p:sp>
      <p:graphicFrame>
        <p:nvGraphicFramePr>
          <p:cNvPr id="6" name="Content Placeholder 5"/>
          <p:cNvGraphicFramePr>
            <a:graphicFrameLocks noGrp="1"/>
          </p:cNvGraphicFramePr>
          <p:nvPr>
            <p:ph idx="1"/>
          </p:nvPr>
        </p:nvGraphicFramePr>
        <p:xfrm>
          <a:off x="463838" y="1690687"/>
          <a:ext cx="5308889" cy="4472621"/>
        </p:xfrm>
        <a:graphic>
          <a:graphicData uri="http://schemas.openxmlformats.org/drawingml/2006/table">
            <a:tbl>
              <a:tblPr firstRow="1" firstCol="1" bandRow="1">
                <a:tableStyleId>{21E4AEA4-8DFA-4A89-87EB-49C32662AFE0}</a:tableStyleId>
              </a:tblPr>
              <a:tblGrid>
                <a:gridCol w="2020269">
                  <a:extLst>
                    <a:ext uri="{9D8B030D-6E8A-4147-A177-3AD203B41FA5}">
                      <a16:colId xmlns:a16="http://schemas.microsoft.com/office/drawing/2014/main" val="704742646"/>
                    </a:ext>
                  </a:extLst>
                </a:gridCol>
                <a:gridCol w="3288620">
                  <a:extLst>
                    <a:ext uri="{9D8B030D-6E8A-4147-A177-3AD203B41FA5}">
                      <a16:colId xmlns:a16="http://schemas.microsoft.com/office/drawing/2014/main" val="1180310804"/>
                    </a:ext>
                  </a:extLst>
                </a:gridCol>
              </a:tblGrid>
              <a:tr h="211819">
                <a:tc gridSpan="2">
                  <a:txBody>
                    <a:bodyPr/>
                    <a:lstStyle/>
                    <a:p>
                      <a:pPr marL="0" marR="0">
                        <a:lnSpc>
                          <a:spcPct val="115000"/>
                        </a:lnSpc>
                        <a:spcBef>
                          <a:spcPts val="0"/>
                        </a:spcBef>
                        <a:spcAft>
                          <a:spcPts val="0"/>
                        </a:spcAft>
                      </a:pPr>
                      <a:r>
                        <a:rPr lang="en-US" sz="1400">
                          <a:effectLst/>
                        </a:rPr>
                        <a:t>Infant Demographic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297432471"/>
                  </a:ext>
                </a:extLst>
              </a:tr>
              <a:tr h="830799">
                <a:tc>
                  <a:txBody>
                    <a:bodyPr/>
                    <a:lstStyle/>
                    <a:p>
                      <a:pPr marL="0" marR="0">
                        <a:lnSpc>
                          <a:spcPct val="115000"/>
                        </a:lnSpc>
                        <a:spcBef>
                          <a:spcPts val="0"/>
                        </a:spcBef>
                        <a:spcAft>
                          <a:spcPts val="0"/>
                        </a:spcAft>
                      </a:pPr>
                      <a:r>
                        <a:rPr lang="en-US" sz="1200" u="none" strike="noStrike">
                          <a:effectLst/>
                        </a:rPr>
                        <a:t> </a:t>
                      </a:r>
                      <a:endParaRPr lang="en-US" sz="1200">
                        <a:effectLst/>
                      </a:endParaRPr>
                    </a:p>
                    <a:p>
                      <a:pPr marL="0" marR="0">
                        <a:lnSpc>
                          <a:spcPct val="115000"/>
                        </a:lnSpc>
                        <a:spcBef>
                          <a:spcPts val="0"/>
                        </a:spcBef>
                        <a:spcAft>
                          <a:spcPts val="0"/>
                        </a:spcAft>
                      </a:pPr>
                      <a:r>
                        <a:rPr lang="en-US" sz="1200">
                          <a:effectLst/>
                        </a:rPr>
                        <a:t>Unit infant was discharged from</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1200">
                          <a:effectLst/>
                        </a:rPr>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1200">
                          <a:effectLst/>
                        </a:rPr>
                        <a:t>Infant Nursery (Level 1)</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1200">
                          <a:effectLst/>
                        </a:rPr>
                        <a:t>Date of Infant Discharge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US" sz="1200">
                          <a:effectLst/>
                        </a:rPr>
                        <a:t>Date of Infant Discharge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1200">
                          <a:effectLst/>
                        </a:rPr>
                        <a:t>Date of Birth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Date of Birth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7239078"/>
                  </a:ext>
                </a:extLst>
              </a:tr>
              <a:tr h="211819">
                <a:tc>
                  <a:txBody>
                    <a:bodyPr/>
                    <a:lstStyle/>
                    <a:p>
                      <a:pPr marL="0" marR="0">
                        <a:lnSpc>
                          <a:spcPct val="115000"/>
                        </a:lnSpc>
                        <a:spcBef>
                          <a:spcPts val="0"/>
                        </a:spcBef>
                        <a:spcAft>
                          <a:spcPts val="0"/>
                        </a:spcAft>
                      </a:pPr>
                      <a:r>
                        <a:rPr lang="en-US" sz="1200">
                          <a:effectLst/>
                        </a:rPr>
                        <a:t>Gestational age at birth</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Gestational age, weeks: 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9910619"/>
                  </a:ext>
                </a:extLst>
              </a:tr>
              <a:tr h="847276">
                <a:tc>
                  <a:txBody>
                    <a:bodyPr/>
                    <a:lstStyle/>
                    <a:p>
                      <a:pPr marL="0" marR="0">
                        <a:lnSpc>
                          <a:spcPct val="115000"/>
                        </a:lnSpc>
                        <a:spcBef>
                          <a:spcPts val="0"/>
                        </a:spcBef>
                        <a:spcAft>
                          <a:spcPts val="1000"/>
                        </a:spcAft>
                      </a:pPr>
                      <a:r>
                        <a:rPr lang="en-US" sz="1200">
                          <a:effectLst/>
                        </a:rPr>
                        <a:t>Infant Ethnicity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80608748"/>
                  </a:ext>
                </a:extLst>
              </a:tr>
              <a:tr h="1716320">
                <a:tc>
                  <a:txBody>
                    <a:bodyPr/>
                    <a:lstStyle/>
                    <a:p>
                      <a:pPr marL="0" marR="0">
                        <a:lnSpc>
                          <a:spcPct val="115000"/>
                        </a:lnSpc>
                        <a:spcBef>
                          <a:spcPts val="0"/>
                        </a:spcBef>
                        <a:spcAft>
                          <a:spcPts val="1000"/>
                        </a:spcAft>
                      </a:pPr>
                      <a:r>
                        <a:rPr lang="en-US" sz="1200">
                          <a:effectLst/>
                        </a:rPr>
                        <a:t>Infant Race (Select all that appl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nvGraphicFramePr>
        <p:xfrm>
          <a:off x="6096000" y="1691119"/>
          <a:ext cx="5336598" cy="4039333"/>
        </p:xfrm>
        <a:graphic>
          <a:graphicData uri="http://schemas.openxmlformats.org/drawingml/2006/table">
            <a:tbl>
              <a:tblPr firstRow="1" firstCol="1" bandRow="1">
                <a:tableStyleId>{21E4AEA4-8DFA-4A89-87EB-49C32662AFE0}</a:tableStyleId>
              </a:tblPr>
              <a:tblGrid>
                <a:gridCol w="2053313">
                  <a:extLst>
                    <a:ext uri="{9D8B030D-6E8A-4147-A177-3AD203B41FA5}">
                      <a16:colId xmlns:a16="http://schemas.microsoft.com/office/drawing/2014/main" val="3667215020"/>
                    </a:ext>
                  </a:extLst>
                </a:gridCol>
                <a:gridCol w="3283285">
                  <a:extLst>
                    <a:ext uri="{9D8B030D-6E8A-4147-A177-3AD203B41FA5}">
                      <a16:colId xmlns:a16="http://schemas.microsoft.com/office/drawing/2014/main" val="1004739901"/>
                    </a:ext>
                  </a:extLst>
                </a:gridCol>
              </a:tblGrid>
              <a:tr h="350549">
                <a:tc gridSpan="2">
                  <a:txBody>
                    <a:bodyPr/>
                    <a:lstStyle/>
                    <a:p>
                      <a:pPr marL="0" marR="0">
                        <a:lnSpc>
                          <a:spcPct val="115000"/>
                        </a:lnSpc>
                        <a:spcBef>
                          <a:spcPts val="0"/>
                        </a:spcBef>
                        <a:spcAft>
                          <a:spcPts val="1000"/>
                        </a:spcAft>
                      </a:pPr>
                      <a:r>
                        <a:rPr lang="en-US" sz="1400">
                          <a:effectLst/>
                        </a:rPr>
                        <a:t>Birthing Person Demographics</a:t>
                      </a:r>
                    </a:p>
                  </a:txBody>
                  <a:tcPr marL="68580" marR="68580" marT="0" marB="0"/>
                </a:tc>
                <a:tc hMerge="1">
                  <a:txBody>
                    <a:bodyPr/>
                    <a:lstStyle/>
                    <a:p>
                      <a:endParaRPr lang="en-US"/>
                    </a:p>
                  </a:txBody>
                  <a:tcPr/>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1200">
                          <a:effectLst/>
                        </a:rPr>
                        <a:t>Health Insurance Type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120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1200">
                          <a:effectLst/>
                        </a:rPr>
                        <a:t>Self-Pay</a:t>
                      </a:r>
                    </a:p>
                    <a:p>
                      <a:pPr marL="342900" marR="0" lvl="0" indent="-342900">
                        <a:lnSpc>
                          <a:spcPct val="115000"/>
                        </a:lnSpc>
                        <a:spcBef>
                          <a:spcPts val="0"/>
                        </a:spcBef>
                        <a:spcAft>
                          <a:spcPts val="0"/>
                        </a:spcAft>
                        <a:buFont typeface="Symbol" panose="05050102010706020507" pitchFamily="18" charset="2"/>
                        <a:buChar char=""/>
                      </a:pPr>
                      <a:r>
                        <a:rPr lang="en-US" sz="1200">
                          <a:effectLst/>
                        </a:rPr>
                        <a:t>Uninsured</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1200">
                          <a:effectLst/>
                        </a:rPr>
                        <a:t>Birthing Person Ethnicity (select one)</a:t>
                      </a:r>
                    </a:p>
                    <a:p>
                      <a:pPr marL="0" marR="0">
                        <a:lnSpc>
                          <a:spcPct val="115000"/>
                        </a:lnSpc>
                        <a:spcBef>
                          <a:spcPts val="0"/>
                        </a:spcBef>
                        <a:spcAft>
                          <a:spcPts val="100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1200">
                          <a:effectLst/>
                        </a:rPr>
                        <a:t>Birthing Person Race (select all that apply)</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240520722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atient Level Data Form</a:t>
            </a:r>
          </a:p>
        </p:txBody>
      </p:sp>
      <p:graphicFrame>
        <p:nvGraphicFramePr>
          <p:cNvPr id="7" name="Content Placeholder 6"/>
          <p:cNvGraphicFramePr>
            <a:graphicFrameLocks noGrp="1"/>
          </p:cNvGraphicFramePr>
          <p:nvPr>
            <p:ph idx="1"/>
          </p:nvPr>
        </p:nvGraphicFramePr>
        <p:xfrm>
          <a:off x="382342" y="1878645"/>
          <a:ext cx="5104058" cy="3575877"/>
        </p:xfrm>
        <a:graphic>
          <a:graphicData uri="http://schemas.openxmlformats.org/drawingml/2006/table">
            <a:tbl>
              <a:tblPr firstRow="1" firstCol="1" bandRow="1">
                <a:tableStyleId>{21E4AEA4-8DFA-4A89-87EB-49C32662AFE0}</a:tableStyleId>
              </a:tblPr>
              <a:tblGrid>
                <a:gridCol w="3144629">
                  <a:extLst>
                    <a:ext uri="{9D8B030D-6E8A-4147-A177-3AD203B41FA5}">
                      <a16:colId xmlns:a16="http://schemas.microsoft.com/office/drawing/2014/main" val="1123736616"/>
                    </a:ext>
                  </a:extLst>
                </a:gridCol>
                <a:gridCol w="1959429">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1400">
                          <a:effectLst/>
                        </a:rPr>
                        <a:t>Parent(s)-reported infant race &amp; ethnicity documented in the infant medical recor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No</a:t>
                      </a:r>
                    </a:p>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Unknown</a:t>
                      </a:r>
                      <a:endParaRPr lang="en-US" sz="1400" b="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1400">
                          <a:effectLst/>
                        </a:rPr>
                        <a:t>What was the parent or caregivers’ preferred language to receive medical updates</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English</a:t>
                      </a:r>
                    </a:p>
                    <a:p>
                      <a:pPr marL="342900" marR="0" lvl="0" indent="-342900">
                        <a:lnSpc>
                          <a:spcPct val="115000"/>
                        </a:lnSpc>
                        <a:spcBef>
                          <a:spcPts val="0"/>
                        </a:spcBef>
                        <a:spcAft>
                          <a:spcPts val="0"/>
                        </a:spcAft>
                        <a:buFont typeface="Symbol" panose="05050102010706020507" pitchFamily="18" charset="2"/>
                        <a:buChar char=""/>
                      </a:pPr>
                      <a:r>
                        <a:rPr lang="en-US" sz="1400">
                          <a:effectLst/>
                        </a:rPr>
                        <a:t>Spanish</a:t>
                      </a:r>
                    </a:p>
                    <a:p>
                      <a:pPr marL="342900" marR="0" lvl="0" indent="-342900">
                        <a:lnSpc>
                          <a:spcPct val="115000"/>
                        </a:lnSpc>
                        <a:spcBef>
                          <a:spcPts val="0"/>
                        </a:spcBef>
                        <a:spcAft>
                          <a:spcPts val="0"/>
                        </a:spcAft>
                        <a:buFont typeface="Symbol" panose="05050102010706020507" pitchFamily="18" charset="2"/>
                        <a:buChar char=""/>
                      </a:pPr>
                      <a:r>
                        <a:rPr lang="en-US" sz="1400">
                          <a:effectLst/>
                        </a:rPr>
                        <a:t>Polish</a:t>
                      </a:r>
                    </a:p>
                    <a:p>
                      <a:pPr marL="342900" marR="0" lvl="0" indent="-342900">
                        <a:lnSpc>
                          <a:spcPct val="115000"/>
                        </a:lnSpc>
                        <a:spcBef>
                          <a:spcPts val="0"/>
                        </a:spcBef>
                        <a:spcAft>
                          <a:spcPts val="0"/>
                        </a:spcAft>
                        <a:buFont typeface="Symbol" panose="05050102010706020507" pitchFamily="18" charset="2"/>
                        <a:buChar char=""/>
                      </a:pPr>
                      <a:r>
                        <a:rPr lang="en-US" sz="1400">
                          <a:effectLst/>
                        </a:rPr>
                        <a:t>Arabic</a:t>
                      </a:r>
                    </a:p>
                    <a:p>
                      <a:pPr marL="342900" marR="0" lvl="0" indent="-342900">
                        <a:lnSpc>
                          <a:spcPct val="115000"/>
                        </a:lnSpc>
                        <a:spcBef>
                          <a:spcPts val="0"/>
                        </a:spcBef>
                        <a:spcAft>
                          <a:spcPts val="0"/>
                        </a:spcAft>
                        <a:buFont typeface="Symbol" panose="05050102010706020507" pitchFamily="18" charset="2"/>
                        <a:buChar char=""/>
                      </a:pPr>
                      <a:r>
                        <a:rPr lang="en-US" sz="1400">
                          <a:effectLst/>
                        </a:rPr>
                        <a:t>Urdu</a:t>
                      </a:r>
                    </a:p>
                    <a:p>
                      <a:pPr marL="342900" marR="0" lvl="0" indent="-342900">
                        <a:lnSpc>
                          <a:spcPct val="115000"/>
                        </a:lnSpc>
                        <a:spcBef>
                          <a:spcPts val="0"/>
                        </a:spcBef>
                        <a:spcAft>
                          <a:spcPts val="1000"/>
                        </a:spcAft>
                        <a:buFont typeface="Symbol" panose="05050102010706020507" pitchFamily="18" charset="2"/>
                        <a:buChar char=""/>
                      </a:pPr>
                      <a:r>
                        <a:rPr lang="en-US" sz="1400">
                          <a:effectLst/>
                        </a:rPr>
                        <a:t>Other: _______</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1400">
                          <a:effectLst/>
                        </a:rPr>
                        <a:t>Documentation of a qualified interpreter used to provide safe sleep education to the parent or caregiver</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225390109"/>
                  </a:ext>
                </a:extLst>
              </a:tr>
              <a:tr h="597219">
                <a:tc>
                  <a:txBody>
                    <a:bodyPr/>
                    <a:lstStyle/>
                    <a:p>
                      <a:pPr marL="0" marR="0">
                        <a:lnSpc>
                          <a:spcPct val="107000"/>
                        </a:lnSpc>
                        <a:spcBef>
                          <a:spcPts val="0"/>
                        </a:spcBef>
                        <a:spcAft>
                          <a:spcPts val="800"/>
                        </a:spcAft>
                      </a:pPr>
                      <a:r>
                        <a:rPr lang="en-US" sz="1400">
                          <a:effectLst/>
                        </a:rPr>
                        <a:t>Documentation of parents or caregivers reporting an understanding of a safe sleep environmen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p>
                    <a:p>
                      <a:pPr marL="342900" marR="0" lvl="0" indent="-342900">
                        <a:lnSpc>
                          <a:spcPct val="115000"/>
                        </a:lnSpc>
                        <a:spcBef>
                          <a:spcPts val="0"/>
                        </a:spcBef>
                        <a:spcAft>
                          <a:spcPts val="0"/>
                        </a:spcAft>
                        <a:buFont typeface="Symbol" panose="05050102010706020507" pitchFamily="18" charset="2"/>
                        <a:buChar char=""/>
                      </a:pPr>
                      <a:r>
                        <a:rPr lang="en-US" sz="1400">
                          <a:effectLst/>
                        </a:rPr>
                        <a:t>Unknown</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8" name="Table 7"/>
          <p:cNvGraphicFramePr>
            <a:graphicFrameLocks noGrp="1"/>
          </p:cNvGraphicFramePr>
          <p:nvPr/>
        </p:nvGraphicFramePr>
        <p:xfrm>
          <a:off x="5780316" y="1690688"/>
          <a:ext cx="5900056" cy="3958337"/>
        </p:xfrm>
        <a:graphic>
          <a:graphicData uri="http://schemas.openxmlformats.org/drawingml/2006/table">
            <a:tbl>
              <a:tblPr firstRow="1" firstCol="1" bandRow="1">
                <a:tableStyleId>{21E4AEA4-8DFA-4A89-87EB-49C32662AFE0}</a:tableStyleId>
              </a:tblPr>
              <a:tblGrid>
                <a:gridCol w="3799113">
                  <a:extLst>
                    <a:ext uri="{9D8B030D-6E8A-4147-A177-3AD203B41FA5}">
                      <a16:colId xmlns:a16="http://schemas.microsoft.com/office/drawing/2014/main" val="1360226053"/>
                    </a:ext>
                  </a:extLst>
                </a:gridCol>
                <a:gridCol w="2100943">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1400">
                          <a:effectLst/>
                        </a:rPr>
                        <a:t>Documentation of a conversation with parents or caregivers about adjustment to life with a newborn and safe sleep outside of the hospital</a:t>
                      </a:r>
                      <a:endParaRPr lang="en-US" sz="140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b="0">
                          <a:solidFill>
                            <a:schemeClr val="tx1"/>
                          </a:solidFill>
                          <a:effectLst/>
                        </a:rPr>
                        <a:t>No</a:t>
                      </a:r>
                      <a:endParaRPr lang="en-US" sz="1400" b="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1400">
                          <a:effectLst/>
                        </a:rPr>
                        <a:t>If specific anticipated challenges were identified, was there documentation of resources and guidance shared with parents or caregiver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1400">
                          <a:effectLst/>
                        </a:rPr>
                        <a:t>Documentation in the infant chart of social determinants of health (</a:t>
                      </a:r>
                      <a:r>
                        <a:rPr lang="en-US" sz="1400" err="1">
                          <a:effectLst/>
                        </a:rPr>
                        <a:t>SDoH</a:t>
                      </a:r>
                      <a:r>
                        <a:rPr lang="en-US" sz="1400">
                          <a:effectLst/>
                        </a:rPr>
                        <a:t>) screening comple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140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1400">
                          <a:effectLst/>
                        </a:rPr>
                        <a:t>Not Documen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1400">
                          <a:effectLst/>
                        </a:rPr>
                        <a:t>Parent or caregiver with SDOH needs identified have documentation of linkage to needed resources/services in the infant char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4231315181"/>
                  </a:ext>
                </a:extLst>
              </a:tr>
              <a:tr h="597219">
                <a:tc>
                  <a:txBody>
                    <a:bodyPr/>
                    <a:lstStyle/>
                    <a:p>
                      <a:pPr marL="0" marR="0">
                        <a:lnSpc>
                          <a:spcPct val="107000"/>
                        </a:lnSpc>
                        <a:spcBef>
                          <a:spcPts val="0"/>
                        </a:spcBef>
                        <a:spcAft>
                          <a:spcPts val="800"/>
                        </a:spcAft>
                      </a:pPr>
                      <a:r>
                        <a:rPr lang="en-US" sz="1400">
                          <a:effectLst/>
                        </a:rPr>
                        <a:t>ESSI Newborn Care Plan and transfer of care to the community provider documented in discharge summary</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13488345"/>
                  </a:ext>
                </a:extLst>
              </a:tr>
            </a:tbl>
          </a:graphicData>
        </a:graphic>
      </p:graphicFrame>
    </p:spTree>
    <p:extLst>
      <p:ext uri="{BB962C8B-B14F-4D97-AF65-F5344CB8AC3E}">
        <p14:creationId xmlns:p14="http://schemas.microsoft.com/office/powerpoint/2010/main" val="22102253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Freeform: Shape 1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pPr>
              <a:lnSpc>
                <a:spcPct val="90000"/>
              </a:lnSpc>
            </a:pPr>
            <a:r>
              <a:rPr lang="en-US" sz="4000"/>
              <a:t>Step 6: </a:t>
            </a:r>
            <a:r>
              <a:rPr lang="en-US" sz="4000" b="0"/>
              <a:t>Review your current safe sleep and respectful care provider, nursing, and staff education</a:t>
            </a:r>
            <a:br>
              <a:rPr lang="en-US" sz="4000"/>
            </a:br>
            <a:endParaRPr lang="en-US" sz="4000"/>
          </a:p>
        </p:txBody>
      </p:sp>
      <p:sp>
        <p:nvSpPr>
          <p:cNvPr id="17" name="Rectangle 1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43</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24D49A4E-BD95-5DF0-35BC-A9758FC2DA7E}"/>
              </a:ext>
            </a:extLst>
          </p:cNvPr>
          <p:cNvGraphicFramePr>
            <a:graphicFrameLocks noGrp="1"/>
          </p:cNvGraphicFramePr>
          <p:nvPr>
            <p:ph idx="1"/>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2844906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Step 7: </a:t>
            </a:r>
            <a:r>
              <a:rPr lang="en-US" b="0"/>
              <a:t>ESSI Toolkit</a:t>
            </a:r>
          </a:p>
        </p:txBody>
      </p:sp>
      <p:sp>
        <p:nvSpPr>
          <p:cNvPr id="3" name="Content Placeholder 2"/>
          <p:cNvSpPr>
            <a:spLocks noGrp="1"/>
          </p:cNvSpPr>
          <p:nvPr>
            <p:ph idx="1"/>
          </p:nvPr>
        </p:nvSpPr>
        <p:spPr>
          <a:xfrm>
            <a:off x="609600" y="2348757"/>
            <a:ext cx="10972800" cy="4351338"/>
          </a:xfrm>
        </p:spPr>
        <p:txBody>
          <a:bodyPr/>
          <a:lstStyle/>
          <a:p>
            <a:r>
              <a:rPr lang="en-US">
                <a:ea typeface="Lato"/>
                <a:cs typeface="Lato"/>
              </a:rPr>
              <a:t>The ESSI Toolkit includes the resources you need to successfully launch the ESSI initiative and achieve performance improvement </a:t>
            </a:r>
            <a:r>
              <a:rPr lang="en-US">
                <a:ea typeface="Lato"/>
                <a:cs typeface="Calibri"/>
              </a:rPr>
              <a:t>at</a:t>
            </a:r>
            <a:r>
              <a:rPr lang="en-US">
                <a:ea typeface="+mn-lt"/>
                <a:cs typeface="+mn-lt"/>
              </a:rPr>
              <a:t> your hospital</a:t>
            </a:r>
            <a:r>
              <a:rPr lang="en-US">
                <a:ea typeface="Lato"/>
                <a:cs typeface="Lato"/>
              </a:rPr>
              <a:t>.</a:t>
            </a:r>
            <a:endParaRPr lang="en-US"/>
          </a:p>
          <a:p>
            <a:r>
              <a:rPr lang="en-US"/>
              <a:t>Organized by Driver</a:t>
            </a:r>
          </a:p>
          <a:p>
            <a:r>
              <a:rPr lang="en-US"/>
              <a:t>Living document, we are always updating resources so make sure to check back for new or updated resources</a:t>
            </a:r>
          </a:p>
          <a:p>
            <a:r>
              <a:rPr lang="en-US"/>
              <a:t>Let’s take a look!! </a:t>
            </a:r>
            <a:r>
              <a:rPr lang="en-US">
                <a:hlinkClick r:id="rId2"/>
              </a:rPr>
              <a:t>www.Ilpqc.org/essi</a:t>
            </a:r>
            <a:endParaRPr lang="en-US"/>
          </a:p>
          <a:p>
            <a:endParaRPr lang="en-US"/>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4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Freeform 23">
            <a:extLst>
              <a:ext uri="{FF2B5EF4-FFF2-40B4-BE49-F238E27FC236}">
                <a16:creationId xmlns:a16="http://schemas.microsoft.com/office/drawing/2014/main" id="{9CAE83B1-576A-4BD3-4D30-DC90CF84A4CA}"/>
              </a:ext>
            </a:extLst>
          </p:cNvPr>
          <p:cNvSpPr/>
          <p:nvPr/>
        </p:nvSpPr>
        <p:spPr>
          <a:xfrm>
            <a:off x="4724400" y="90737"/>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Tree>
    <p:extLst>
      <p:ext uri="{BB962C8B-B14F-4D97-AF65-F5344CB8AC3E}">
        <p14:creationId xmlns:p14="http://schemas.microsoft.com/office/powerpoint/2010/main" val="30013243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632197" y="2587284"/>
            <a:ext cx="2409770" cy="2804096"/>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4022623" y="1413045"/>
            <a:ext cx="1331545" cy="1549435"/>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6424792" y="1413045"/>
            <a:ext cx="1331545" cy="1549435"/>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3223169" y="3128439"/>
            <a:ext cx="1313884" cy="152888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7173115" y="3128439"/>
            <a:ext cx="1313884" cy="152888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3880111" y="4987657"/>
            <a:ext cx="1285801" cy="1496205"/>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20" name="Group 20"/>
          <p:cNvGrpSpPr/>
          <p:nvPr/>
        </p:nvGrpSpPr>
        <p:grpSpPr>
          <a:xfrm>
            <a:off x="6537970" y="4987657"/>
            <a:ext cx="1285801" cy="1496205"/>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3" name="Freeform 23"/>
          <p:cNvSpPr/>
          <p:nvPr/>
        </p:nvSpPr>
        <p:spPr>
          <a:xfrm>
            <a:off x="-727206" y="6780867"/>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sp>
      <p:sp>
        <p:nvSpPr>
          <p:cNvPr id="24" name="Freeform 24"/>
          <p:cNvSpPr/>
          <p:nvPr/>
        </p:nvSpPr>
        <p:spPr>
          <a:xfrm>
            <a:off x="375869" y="484024"/>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sp>
      <p:sp>
        <p:nvSpPr>
          <p:cNvPr id="25" name="Freeform 25"/>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sp>
      <p:sp>
        <p:nvSpPr>
          <p:cNvPr id="27" name="Freeform 27"/>
          <p:cNvSpPr/>
          <p:nvPr/>
        </p:nvSpPr>
        <p:spPr>
          <a:xfrm>
            <a:off x="4133617" y="1863794"/>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sp>
      <p:sp>
        <p:nvSpPr>
          <p:cNvPr id="28" name="Freeform 28"/>
          <p:cNvSpPr/>
          <p:nvPr/>
        </p:nvSpPr>
        <p:spPr>
          <a:xfrm>
            <a:off x="3438022" y="3567183"/>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sp>
      <p:sp>
        <p:nvSpPr>
          <p:cNvPr id="29" name="Freeform 29"/>
          <p:cNvSpPr/>
          <p:nvPr/>
        </p:nvSpPr>
        <p:spPr>
          <a:xfrm>
            <a:off x="4048019" y="5311105"/>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sp>
      <p:sp>
        <p:nvSpPr>
          <p:cNvPr id="30" name="Freeform 30"/>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sp>
      <p:sp>
        <p:nvSpPr>
          <p:cNvPr id="31" name="Freeform 31"/>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sp>
      <p:sp>
        <p:nvSpPr>
          <p:cNvPr id="32" name="Freeform 32"/>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sp>
      <p:sp>
        <p:nvSpPr>
          <p:cNvPr id="33" name="TextBox 33"/>
          <p:cNvSpPr txBox="1"/>
          <p:nvPr/>
        </p:nvSpPr>
        <p:spPr>
          <a:xfrm>
            <a:off x="-308363" y="1512272"/>
            <a:ext cx="4330985"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I-PROMOTE Implicit Bias Training Directory</a:t>
            </a:r>
          </a:p>
        </p:txBody>
      </p:sp>
      <p:sp>
        <p:nvSpPr>
          <p:cNvPr id="34" name="TextBox 34"/>
          <p:cNvSpPr txBox="1"/>
          <p:nvPr/>
        </p:nvSpPr>
        <p:spPr>
          <a:xfrm>
            <a:off x="810362" y="3169469"/>
            <a:ext cx="2093537"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E-Learning Modules</a:t>
            </a:r>
          </a:p>
        </p:txBody>
      </p:sp>
      <p:sp>
        <p:nvSpPr>
          <p:cNvPr id="35" name="TextBox 35"/>
          <p:cNvSpPr txBox="1"/>
          <p:nvPr/>
        </p:nvSpPr>
        <p:spPr>
          <a:xfrm>
            <a:off x="70952" y="3569064"/>
            <a:ext cx="3364637" cy="1049198"/>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National Health Start Association</a:t>
            </a:r>
          </a:p>
          <a:p>
            <a:pPr marL="331067" lvl="1" indent="-165534" algn="just">
              <a:lnSpc>
                <a:spcPts val="2147"/>
              </a:lnSpc>
              <a:buFont typeface="Arial"/>
              <a:buChar char="•"/>
            </a:pPr>
            <a:r>
              <a:rPr lang="en-US" sz="1533">
                <a:solidFill>
                  <a:srgbClr val="63696F"/>
                </a:solidFill>
                <a:latin typeface="Barlow"/>
              </a:rPr>
              <a:t>March of Dimes</a:t>
            </a:r>
          </a:p>
          <a:p>
            <a:pPr marL="331067" lvl="1" indent="-165534" algn="just">
              <a:lnSpc>
                <a:spcPts val="2147"/>
              </a:lnSpc>
              <a:buFont typeface="Arial"/>
              <a:buChar char="•"/>
            </a:pPr>
            <a:r>
              <a:rPr lang="en-US" sz="1533">
                <a:solidFill>
                  <a:srgbClr val="63696F"/>
                </a:solidFill>
                <a:latin typeface="Barlow"/>
              </a:rPr>
              <a:t>Think Cultural Health</a:t>
            </a:r>
          </a:p>
          <a:p>
            <a:pPr marL="331067" lvl="1" indent="-165534" algn="just">
              <a:lnSpc>
                <a:spcPts val="2147"/>
              </a:lnSpc>
              <a:spcBef>
                <a:spcPct val="0"/>
              </a:spcBef>
              <a:buFont typeface="Arial"/>
              <a:buChar char="•"/>
            </a:pPr>
            <a:r>
              <a:rPr lang="en-US" sz="1533">
                <a:solidFill>
                  <a:srgbClr val="63696F"/>
                </a:solidFill>
                <a:latin typeface="Barlow"/>
              </a:rPr>
              <a:t>Diversity Science</a:t>
            </a:r>
          </a:p>
        </p:txBody>
      </p:sp>
      <p:sp>
        <p:nvSpPr>
          <p:cNvPr id="36" name="TextBox 36"/>
          <p:cNvSpPr txBox="1"/>
          <p:nvPr/>
        </p:nvSpPr>
        <p:spPr>
          <a:xfrm>
            <a:off x="1614473" y="5273005"/>
            <a:ext cx="2093537" cy="265714"/>
          </a:xfrm>
          <a:prstGeom prst="rect">
            <a:avLst/>
          </a:prstGeom>
        </p:spPr>
        <p:txBody>
          <a:bodyPr lIns="0" tIns="0" rIns="0" bIns="0" rtlCol="0" anchor="t">
            <a:spAutoFit/>
          </a:bodyPr>
          <a:lstStyle/>
          <a:p>
            <a:pPr algn="ctr">
              <a:lnSpc>
                <a:spcPts val="2239"/>
              </a:lnSpc>
            </a:pPr>
            <a:r>
              <a:rPr lang="en-US" sz="1600">
                <a:solidFill>
                  <a:srgbClr val="000000"/>
                </a:solidFill>
                <a:latin typeface="Barlow Semi-Bold"/>
              </a:rPr>
              <a:t>Live Trainings</a:t>
            </a:r>
          </a:p>
        </p:txBody>
      </p:sp>
      <p:sp>
        <p:nvSpPr>
          <p:cNvPr id="37" name="TextBox 37"/>
          <p:cNvSpPr txBox="1"/>
          <p:nvPr/>
        </p:nvSpPr>
        <p:spPr>
          <a:xfrm>
            <a:off x="1562155" y="5600666"/>
            <a:ext cx="2403253" cy="510589"/>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PQI </a:t>
            </a:r>
            <a:r>
              <a:rPr lang="en-US" sz="1533" err="1">
                <a:solidFill>
                  <a:srgbClr val="63696F"/>
                </a:solidFill>
                <a:latin typeface="Barlow"/>
              </a:rPr>
              <a:t>SpeakUp</a:t>
            </a:r>
            <a:r>
              <a:rPr lang="en-US" sz="1533">
                <a:solidFill>
                  <a:srgbClr val="63696F"/>
                </a:solidFill>
                <a:latin typeface="Barlow"/>
              </a:rPr>
              <a:t> Training</a:t>
            </a:r>
          </a:p>
          <a:p>
            <a:pPr marL="331067" lvl="1" indent="-165534" algn="just">
              <a:lnSpc>
                <a:spcPts val="2147"/>
              </a:lnSpc>
              <a:buFont typeface="Arial"/>
              <a:buChar char="•"/>
            </a:pPr>
            <a:r>
              <a:rPr lang="en-US" sz="1533">
                <a:solidFill>
                  <a:srgbClr val="63696F"/>
                </a:solidFill>
                <a:latin typeface="Barlow"/>
              </a:rPr>
              <a:t>March of Dimes</a:t>
            </a:r>
          </a:p>
        </p:txBody>
      </p:sp>
      <p:sp>
        <p:nvSpPr>
          <p:cNvPr id="38" name="TextBox 38"/>
          <p:cNvSpPr txBox="1"/>
          <p:nvPr/>
        </p:nvSpPr>
        <p:spPr>
          <a:xfrm>
            <a:off x="8003749" y="1462309"/>
            <a:ext cx="3698763"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Listening to Parents and Family Voices</a:t>
            </a:r>
          </a:p>
        </p:txBody>
      </p:sp>
      <p:sp>
        <p:nvSpPr>
          <p:cNvPr id="39" name="TextBox 39"/>
          <p:cNvSpPr txBox="1"/>
          <p:nvPr/>
        </p:nvSpPr>
        <p:spPr>
          <a:xfrm>
            <a:off x="7830322" y="1789970"/>
            <a:ext cx="4106918" cy="779893"/>
          </a:xfrm>
          <a:prstGeom prst="rect">
            <a:avLst/>
          </a:prstGeom>
        </p:spPr>
        <p:txBody>
          <a:bodyPr lIns="0" tIns="0" rIns="0" bIns="0" rtlCol="0" anchor="t">
            <a:spAutoFit/>
          </a:bodyPr>
          <a:lstStyle/>
          <a:p>
            <a:pPr marL="330835" lvl="1" indent="-165100">
              <a:lnSpc>
                <a:spcPts val="2147"/>
              </a:lnSpc>
              <a:buFont typeface="Arial"/>
              <a:buChar char="•"/>
            </a:pPr>
            <a:r>
              <a:rPr lang="en-US" sz="1500">
                <a:solidFill>
                  <a:srgbClr val="63696F"/>
                </a:solidFill>
                <a:latin typeface="Barlow"/>
              </a:rPr>
              <a:t>The Illinois Maternal Health Digital Storytelling Project </a:t>
            </a:r>
            <a:endParaRPr lang="en-US"/>
          </a:p>
          <a:p>
            <a:pPr marL="330835" lvl="1" indent="-165100">
              <a:lnSpc>
                <a:spcPts val="2147"/>
              </a:lnSpc>
              <a:buFont typeface="Arial"/>
              <a:buChar char="•"/>
            </a:pPr>
            <a:r>
              <a:rPr lang="en-US" sz="1500">
                <a:solidFill>
                  <a:srgbClr val="63696F"/>
                </a:solidFill>
                <a:latin typeface="Barlow"/>
              </a:rPr>
              <a:t>CDC HEAR HER Campaign </a:t>
            </a:r>
          </a:p>
        </p:txBody>
      </p:sp>
      <p:sp>
        <p:nvSpPr>
          <p:cNvPr id="40" name="TextBox 40"/>
          <p:cNvSpPr txBox="1"/>
          <p:nvPr/>
        </p:nvSpPr>
        <p:spPr>
          <a:xfrm>
            <a:off x="8640926" y="3288849"/>
            <a:ext cx="3061585"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Tools to Facilitate Discussions</a:t>
            </a:r>
          </a:p>
        </p:txBody>
      </p:sp>
      <p:sp>
        <p:nvSpPr>
          <p:cNvPr id="41" name="TextBox 41"/>
          <p:cNvSpPr txBox="1"/>
          <p:nvPr/>
        </p:nvSpPr>
        <p:spPr>
          <a:xfrm>
            <a:off x="8473382" y="3529382"/>
            <a:ext cx="3449481"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Toxic – A Black Woman’s Story</a:t>
            </a:r>
            <a:endParaRPr lang="en-US" sz="1500">
              <a:solidFill>
                <a:srgbClr val="000000"/>
              </a:solidFill>
              <a:latin typeface="Calibri"/>
              <a:cs typeface="Calibri"/>
            </a:endParaRPr>
          </a:p>
          <a:p>
            <a:pPr marL="330835" lvl="1" indent="-165100">
              <a:lnSpc>
                <a:spcPts val="2147"/>
              </a:lnSpc>
              <a:buFont typeface="Arial"/>
              <a:buChar char="•"/>
            </a:pPr>
            <a:r>
              <a:rPr lang="en-US" sz="1500">
                <a:solidFill>
                  <a:srgbClr val="63696F"/>
                </a:solidFill>
                <a:latin typeface="Barlow"/>
              </a:rPr>
              <a:t>Laboring with Hope Film</a:t>
            </a:r>
            <a:endParaRPr lang="en-US" sz="1500">
              <a:cs typeface="Calibri"/>
            </a:endParaRPr>
          </a:p>
          <a:p>
            <a:pPr marL="330835" lvl="1" indent="-165100">
              <a:lnSpc>
                <a:spcPts val="2147"/>
              </a:lnSpc>
              <a:buFont typeface="Arial"/>
              <a:buChar char="•"/>
            </a:pPr>
            <a:r>
              <a:rPr lang="en-US" sz="1500">
                <a:solidFill>
                  <a:srgbClr val="63696F"/>
                </a:solidFill>
                <a:latin typeface="Barlow"/>
              </a:rPr>
              <a:t>Aftershock Film</a:t>
            </a:r>
          </a:p>
          <a:p>
            <a:pPr marL="330835" lvl="1" indent="-165100">
              <a:lnSpc>
                <a:spcPts val="2147"/>
              </a:lnSpc>
              <a:buFont typeface="Arial"/>
              <a:buChar char="•"/>
            </a:pPr>
            <a:r>
              <a:rPr lang="en-US" sz="1500">
                <a:solidFill>
                  <a:srgbClr val="63696F"/>
                </a:solidFill>
                <a:latin typeface="Barlow"/>
              </a:rPr>
              <a:t>PQI 21-day Anti-Racism Challenge</a:t>
            </a:r>
          </a:p>
        </p:txBody>
      </p:sp>
      <p:sp>
        <p:nvSpPr>
          <p:cNvPr id="42" name="TextBox 42"/>
          <p:cNvSpPr txBox="1"/>
          <p:nvPr/>
        </p:nvSpPr>
        <p:spPr>
          <a:xfrm>
            <a:off x="8003749" y="5115389"/>
            <a:ext cx="3933491"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Resources for Respectful Care Practices</a:t>
            </a:r>
          </a:p>
        </p:txBody>
      </p:sp>
      <p:sp>
        <p:nvSpPr>
          <p:cNvPr id="43" name="TextBox 43"/>
          <p:cNvSpPr txBox="1"/>
          <p:nvPr/>
        </p:nvSpPr>
        <p:spPr>
          <a:xfrm>
            <a:off x="7824163" y="5447842"/>
            <a:ext cx="4405185"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ILPQC Actionable Respectful Care Strategies </a:t>
            </a:r>
            <a:endParaRPr lang="en-US"/>
          </a:p>
          <a:p>
            <a:pPr marL="330835" lvl="1" indent="-165100">
              <a:lnSpc>
                <a:spcPts val="2147"/>
              </a:lnSpc>
              <a:buFont typeface="Arial"/>
              <a:buChar char="•"/>
            </a:pPr>
            <a:r>
              <a:rPr lang="en-US" sz="1500">
                <a:solidFill>
                  <a:srgbClr val="63696F"/>
                </a:solidFill>
                <a:latin typeface="Barlow"/>
              </a:rPr>
              <a:t>AWHONN Respectful Maternity Care Implementation Toolkit-</a:t>
            </a:r>
          </a:p>
          <a:p>
            <a:pPr marL="330835" lvl="1" indent="-165100">
              <a:lnSpc>
                <a:spcPts val="2147"/>
              </a:lnSpc>
              <a:buFont typeface="Arial"/>
              <a:buChar char="•"/>
            </a:pPr>
            <a:r>
              <a:rPr lang="en-US" sz="1500">
                <a:solidFill>
                  <a:srgbClr val="63696F"/>
                </a:solidFill>
                <a:latin typeface="Barlow"/>
              </a:rPr>
              <a:t>The SHARE Approach  to shared decision-making</a:t>
            </a:r>
          </a:p>
        </p:txBody>
      </p:sp>
      <p:sp>
        <p:nvSpPr>
          <p:cNvPr id="44" name="TextBox 44"/>
          <p:cNvSpPr txBox="1"/>
          <p:nvPr/>
        </p:nvSpPr>
        <p:spPr>
          <a:xfrm>
            <a:off x="570590"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5" name="TextBox 45"/>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6" name="TextBox 46"/>
          <p:cNvSpPr txBox="1"/>
          <p:nvPr/>
        </p:nvSpPr>
        <p:spPr>
          <a:xfrm>
            <a:off x="4721453" y="3190368"/>
            <a:ext cx="2362267" cy="313227"/>
          </a:xfrm>
          <a:prstGeom prst="rect">
            <a:avLst/>
          </a:prstGeom>
        </p:spPr>
        <p:txBody>
          <a:bodyPr lIns="0" tIns="0" rIns="0" bIns="0" rtlCol="0" anchor="t">
            <a:spAutoFit/>
          </a:bodyPr>
          <a:lstStyle/>
          <a:p>
            <a:pPr algn="ctr">
              <a:lnSpc>
                <a:spcPts val="2613"/>
              </a:lnSpc>
              <a:spcBef>
                <a:spcPct val="0"/>
              </a:spcBef>
            </a:pPr>
            <a:r>
              <a:rPr lang="en-US" sz="1866" u="sng">
                <a:solidFill>
                  <a:srgbClr val="FDFDFD"/>
                </a:solidFill>
                <a:latin typeface="Canva Sans Bold"/>
              </a:rPr>
              <a:t>Secondary Driver 1:</a:t>
            </a:r>
            <a:r>
              <a:rPr lang="en-US" sz="1866">
                <a:solidFill>
                  <a:srgbClr val="FDFDFD"/>
                </a:solidFill>
                <a:latin typeface="Canva Sans Bold"/>
              </a:rPr>
              <a:t> </a:t>
            </a:r>
          </a:p>
        </p:txBody>
      </p:sp>
      <p:sp>
        <p:nvSpPr>
          <p:cNvPr id="47" name="TextBox 47"/>
          <p:cNvSpPr txBox="1"/>
          <p:nvPr/>
        </p:nvSpPr>
        <p:spPr>
          <a:xfrm>
            <a:off x="186798" y="1824388"/>
            <a:ext cx="3622035" cy="779059"/>
          </a:xfrm>
          <a:prstGeom prst="rect">
            <a:avLst/>
          </a:prstGeom>
        </p:spPr>
        <p:txBody>
          <a:bodyPr lIns="0" tIns="0" rIns="0" bIns="0" rtlCol="0" anchor="t">
            <a:spAutoFit/>
          </a:bodyPr>
          <a:lstStyle/>
          <a:p>
            <a:pPr algn="ctr">
              <a:lnSpc>
                <a:spcPts val="2147"/>
              </a:lnSpc>
              <a:spcBef>
                <a:spcPct val="0"/>
              </a:spcBef>
            </a:pPr>
            <a:r>
              <a:rPr lang="en-US" sz="1500">
                <a:solidFill>
                  <a:srgbClr val="63696F"/>
                </a:solidFill>
                <a:latin typeface="Barlow"/>
              </a:rPr>
              <a:t>Inventory of implicit bias trainings available including the sponsoring organization, title, estimated completion time, and cost</a:t>
            </a:r>
          </a:p>
        </p:txBody>
      </p:sp>
      <p:sp>
        <p:nvSpPr>
          <p:cNvPr id="49" name="TextBox 49"/>
          <p:cNvSpPr txBox="1"/>
          <p:nvPr/>
        </p:nvSpPr>
        <p:spPr>
          <a:xfrm>
            <a:off x="4839050" y="3597777"/>
            <a:ext cx="2079570" cy="1162498"/>
          </a:xfrm>
          <a:prstGeom prst="rect">
            <a:avLst/>
          </a:prstGeom>
        </p:spPr>
        <p:txBody>
          <a:bodyPr lIns="0" tIns="0" rIns="0" bIns="0" rtlCol="0" anchor="t">
            <a:spAutoFit/>
          </a:bodyPr>
          <a:lstStyle/>
          <a:p>
            <a:pPr algn="ctr">
              <a:lnSpc>
                <a:spcPts val="2333"/>
              </a:lnSpc>
              <a:spcBef>
                <a:spcPct val="0"/>
              </a:spcBef>
            </a:pPr>
            <a:r>
              <a:rPr lang="en-US" sz="1666">
                <a:solidFill>
                  <a:srgbClr val="FDFDFD"/>
                </a:solidFill>
                <a:latin typeface="Canva Sans"/>
              </a:rPr>
              <a:t>Equitable and Respectful Care Education and Implementation </a:t>
            </a:r>
          </a:p>
        </p:txBody>
      </p:sp>
      <p:sp>
        <p:nvSpPr>
          <p:cNvPr id="51" name="Freeform 4">
            <a:extLst>
              <a:ext uri="{FF2B5EF4-FFF2-40B4-BE49-F238E27FC236}">
                <a16:creationId xmlns:a16="http://schemas.microsoft.com/office/drawing/2014/main" id="{DADB789B-D1D8-A439-C1FC-0121F131E706}"/>
              </a:ext>
            </a:extLst>
          </p:cNvPr>
          <p:cNvSpPr/>
          <p:nvPr/>
        </p:nvSpPr>
        <p:spPr>
          <a:xfrm>
            <a:off x="8564610" y="43476"/>
            <a:ext cx="1401505" cy="126410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sp>
      <p:sp>
        <p:nvSpPr>
          <p:cNvPr id="53" name="TextBox 19">
            <a:extLst>
              <a:ext uri="{FF2B5EF4-FFF2-40B4-BE49-F238E27FC236}">
                <a16:creationId xmlns:a16="http://schemas.microsoft.com/office/drawing/2014/main" id="{7AA1F7FA-AA52-FED3-1784-BE66C8A7FBFC}"/>
              </a:ext>
            </a:extLst>
          </p:cNvPr>
          <p:cNvSpPr txBox="1"/>
          <p:nvPr/>
        </p:nvSpPr>
        <p:spPr>
          <a:xfrm>
            <a:off x="9761891" y="888931"/>
            <a:ext cx="2532194"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5" name="Freeform 21">
            <a:extLst>
              <a:ext uri="{FF2B5EF4-FFF2-40B4-BE49-F238E27FC236}">
                <a16:creationId xmlns:a16="http://schemas.microsoft.com/office/drawing/2014/main" id="{20BABE46-A93F-751A-4C5F-3AC294D73230}"/>
              </a:ext>
            </a:extLst>
          </p:cNvPr>
          <p:cNvSpPr/>
          <p:nvPr/>
        </p:nvSpPr>
        <p:spPr>
          <a:xfrm>
            <a:off x="10381762" y="4223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3"/>
            <a:stretch>
              <a:fillRect/>
            </a:stretch>
          </a:blipFill>
        </p:spPr>
      </p:sp>
    </p:spTree>
    <p:extLst>
      <p:ext uri="{BB962C8B-B14F-4D97-AF65-F5344CB8AC3E}">
        <p14:creationId xmlns:p14="http://schemas.microsoft.com/office/powerpoint/2010/main" val="3648360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9" grpId="0"/>
      <p:bldP spid="41" grpId="0"/>
      <p:bldP spid="43" grpId="0"/>
      <p:bldP spid="4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6096000" y="203609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4" name="Freeform 4"/>
          <p:cNvSpPr/>
          <p:nvPr/>
        </p:nvSpPr>
        <p:spPr>
          <a:xfrm>
            <a:off x="3471609"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sp>
        <p:nvSpPr>
          <p:cNvPr id="5" name="Freeform 5"/>
          <p:cNvSpPr/>
          <p:nvPr/>
        </p:nvSpPr>
        <p:spPr>
          <a:xfrm>
            <a:off x="9079451"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sp>
      <p:grpSp>
        <p:nvGrpSpPr>
          <p:cNvPr id="6" name="Group 6"/>
          <p:cNvGrpSpPr/>
          <p:nvPr/>
        </p:nvGrpSpPr>
        <p:grpSpPr>
          <a:xfrm>
            <a:off x="540761" y="4569353"/>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915611" y="2518500"/>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492857" y="3849008"/>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824565" y="1773777"/>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57698" y="3878037"/>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p>
          </p:txBody>
        </p:sp>
      </p:grpSp>
      <p:grpSp>
        <p:nvGrpSpPr>
          <p:cNvPr id="21" name="Group 21"/>
          <p:cNvGrpSpPr/>
          <p:nvPr/>
        </p:nvGrpSpPr>
        <p:grpSpPr>
          <a:xfrm>
            <a:off x="9642475" y="1773777"/>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457950" y="446545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733520" y="251850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34" name="Freeform 34"/>
          <p:cNvSpPr/>
          <p:nvPr/>
        </p:nvSpPr>
        <p:spPr>
          <a:xfrm>
            <a:off x="6964264" y="272189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35" name="Freeform 35"/>
          <p:cNvSpPr/>
          <p:nvPr/>
        </p:nvSpPr>
        <p:spPr>
          <a:xfrm>
            <a:off x="9906439" y="2025585"/>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36" name="Freeform 36"/>
          <p:cNvSpPr/>
          <p:nvPr/>
        </p:nvSpPr>
        <p:spPr>
          <a:xfrm>
            <a:off x="4006374" y="2189779"/>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37" name="Freeform 37"/>
          <p:cNvSpPr/>
          <p:nvPr/>
        </p:nvSpPr>
        <p:spPr>
          <a:xfrm>
            <a:off x="1299819" y="2760375"/>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38" name="TextBox 38"/>
          <p:cNvSpPr txBox="1"/>
          <p:nvPr/>
        </p:nvSpPr>
        <p:spPr>
          <a:xfrm>
            <a:off x="685800" y="4692440"/>
            <a:ext cx="2093537" cy="252633"/>
          </a:xfrm>
          <a:prstGeom prst="rect">
            <a:avLst/>
          </a:prstGeom>
        </p:spPr>
        <p:txBody>
          <a:bodyPr lIns="0" tIns="0" rIns="0" bIns="0" rtlCol="0" anchor="t">
            <a:spAutoFit/>
          </a:bodyPr>
          <a:lstStyle/>
          <a:p>
            <a:pPr algn="ctr">
              <a:lnSpc>
                <a:spcPts val="2239"/>
              </a:lnSpc>
            </a:pPr>
            <a:r>
              <a:rPr lang="en-US" sz="1600">
                <a:solidFill>
                  <a:srgbClr val="FDFDFD"/>
                </a:solidFill>
                <a:latin typeface="Barlow Bold"/>
              </a:rPr>
              <a:t>AAP Technical Report</a:t>
            </a:r>
          </a:p>
        </p:txBody>
      </p:sp>
      <p:sp>
        <p:nvSpPr>
          <p:cNvPr id="39" name="TextBox 39"/>
          <p:cNvSpPr txBox="1"/>
          <p:nvPr/>
        </p:nvSpPr>
        <p:spPr>
          <a:xfrm>
            <a:off x="576665" y="5148565"/>
            <a:ext cx="2339567" cy="143520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Barlow Medium"/>
              </a:rPr>
              <a:t>Evidence Base for 2022 Updated Recommendations for a Safe Infant Sleeping Environment to Reduce the Risk of Sleep-Related Infant Deaths </a:t>
            </a:r>
          </a:p>
        </p:txBody>
      </p:sp>
      <p:sp>
        <p:nvSpPr>
          <p:cNvPr id="40" name="TextBox 40"/>
          <p:cNvSpPr txBox="1"/>
          <p:nvPr/>
        </p:nvSpPr>
        <p:spPr>
          <a:xfrm>
            <a:off x="3594755" y="3947717"/>
            <a:ext cx="2093537" cy="277640"/>
          </a:xfrm>
          <a:prstGeom prst="rect">
            <a:avLst/>
          </a:prstGeom>
        </p:spPr>
        <p:txBody>
          <a:bodyPr lIns="0" tIns="0" rIns="0" bIns="0" rtlCol="0" anchor="t">
            <a:spAutoFit/>
          </a:bodyPr>
          <a:lstStyle/>
          <a:p>
            <a:pPr algn="ctr">
              <a:lnSpc>
                <a:spcPts val="2333"/>
              </a:lnSpc>
            </a:pPr>
            <a:r>
              <a:rPr lang="en-US" sz="1666">
                <a:solidFill>
                  <a:srgbClr val="FDFDFD"/>
                </a:solidFill>
                <a:latin typeface="Barlow Semi-Bold"/>
              </a:rPr>
              <a:t>E-Learning Modules</a:t>
            </a:r>
          </a:p>
        </p:txBody>
      </p:sp>
      <p:sp>
        <p:nvSpPr>
          <p:cNvPr id="41" name="TextBox 41"/>
          <p:cNvSpPr txBox="1"/>
          <p:nvPr/>
        </p:nvSpPr>
        <p:spPr>
          <a:xfrm>
            <a:off x="3223169" y="4543953"/>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Hospital-Wide Infant Safe Sleep Training</a:t>
            </a:r>
            <a:endParaRPr lang="en-US" sz="1450"/>
          </a:p>
          <a:p>
            <a:pPr marL="316230" lvl="1" indent="-158115">
              <a:lnSpc>
                <a:spcPts val="2053"/>
              </a:lnSpc>
              <a:buFont typeface="Arial"/>
              <a:buChar char="•"/>
            </a:pPr>
            <a:r>
              <a:rPr lang="en-US" sz="1450">
                <a:solidFill>
                  <a:srgbClr val="63696F"/>
                </a:solidFill>
                <a:latin typeface="Barlow Medium"/>
              </a:rPr>
              <a:t>Cribs for Kids Safe Sleep Ambassador Education Outreach Program </a:t>
            </a:r>
          </a:p>
          <a:p>
            <a:pPr marL="316230" lvl="1" indent="-158115">
              <a:lnSpc>
                <a:spcPts val="2053"/>
              </a:lnSpc>
              <a:spcBef>
                <a:spcPct val="0"/>
              </a:spcBef>
              <a:buFont typeface="Arial"/>
              <a:buChar char="•"/>
            </a:pPr>
            <a:r>
              <a:rPr lang="en-US" sz="1450">
                <a:solidFill>
                  <a:srgbClr val="63696F"/>
                </a:solidFill>
                <a:latin typeface="Barlow Medium"/>
              </a:rPr>
              <a:t>NIH Safe to Sleep Provider Training and Materials </a:t>
            </a:r>
          </a:p>
          <a:p>
            <a:pPr algn="ctr">
              <a:lnSpc>
                <a:spcPts val="1960"/>
              </a:lnSpc>
              <a:spcBef>
                <a:spcPct val="0"/>
              </a:spcBef>
            </a:pPr>
            <a:endParaRPr lang="en-US" sz="1467">
              <a:solidFill>
                <a:srgbClr val="63696F"/>
              </a:solidFill>
              <a:latin typeface="Barlow Medium"/>
            </a:endParaRPr>
          </a:p>
        </p:txBody>
      </p:sp>
      <p:sp>
        <p:nvSpPr>
          <p:cNvPr id="42" name="TextBox 42"/>
          <p:cNvSpPr txBox="1"/>
          <p:nvPr/>
        </p:nvSpPr>
        <p:spPr>
          <a:xfrm>
            <a:off x="9159320" y="3992167"/>
            <a:ext cx="2710688" cy="654025"/>
          </a:xfrm>
          <a:prstGeom prst="rect">
            <a:avLst/>
          </a:prstGeom>
        </p:spPr>
        <p:txBody>
          <a:bodyPr lIns="0" tIns="0" rIns="0" bIns="0" rtlCol="0" anchor="t">
            <a:spAutoFit/>
          </a:bodyPr>
          <a:lstStyle/>
          <a:p>
            <a:pPr algn="ctr">
              <a:lnSpc>
                <a:spcPts val="1731"/>
              </a:lnSpc>
            </a:pPr>
            <a:r>
              <a:rPr lang="en-US" sz="1467">
                <a:solidFill>
                  <a:srgbClr val="FDFDFD"/>
                </a:solidFill>
                <a:latin typeface="Barlow Semi-Bold"/>
              </a:rPr>
              <a:t>Encourage meaningful, culturally appropriate, respectful, nonjudgmental conversations. </a:t>
            </a:r>
          </a:p>
        </p:txBody>
      </p:sp>
      <p:sp>
        <p:nvSpPr>
          <p:cNvPr id="43" name="TextBox 43"/>
          <p:cNvSpPr txBox="1"/>
          <p:nvPr/>
        </p:nvSpPr>
        <p:spPr>
          <a:xfrm>
            <a:off x="9200838" y="4890084"/>
            <a:ext cx="2914611" cy="1047082"/>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Safe Sleep Communication Strategies </a:t>
            </a:r>
            <a:endParaRPr lang="en-US"/>
          </a:p>
          <a:p>
            <a:pPr marL="316230" lvl="1" indent="-158115">
              <a:lnSpc>
                <a:spcPts val="2053"/>
              </a:lnSpc>
              <a:buFont typeface="Arial"/>
              <a:buChar char="•"/>
            </a:pPr>
            <a:r>
              <a:rPr lang="en-US" sz="1450">
                <a:solidFill>
                  <a:srgbClr val="63696F"/>
                </a:solidFill>
                <a:latin typeface="Barlow Medium"/>
              </a:rPr>
              <a:t>NICHQ Building on Campaigns with Conversation</a:t>
            </a:r>
          </a:p>
        </p:txBody>
      </p:sp>
      <p:sp>
        <p:nvSpPr>
          <p:cNvPr id="44" name="TextBox 44"/>
          <p:cNvSpPr txBox="1"/>
          <p:nvPr/>
        </p:nvSpPr>
        <p:spPr>
          <a:xfrm>
            <a:off x="6580542" y="4581531"/>
            <a:ext cx="2193897" cy="520976"/>
          </a:xfrm>
          <a:prstGeom prst="rect">
            <a:avLst/>
          </a:prstGeom>
        </p:spPr>
        <p:txBody>
          <a:bodyPr lIns="0" tIns="0" rIns="0" bIns="0" rtlCol="0" anchor="t">
            <a:spAutoFit/>
          </a:bodyPr>
          <a:lstStyle/>
          <a:p>
            <a:pPr algn="ctr">
              <a:lnSpc>
                <a:spcPts val="2053"/>
              </a:lnSpc>
            </a:pPr>
            <a:r>
              <a:rPr lang="en-US" sz="1467">
                <a:solidFill>
                  <a:srgbClr val="FDFDFD"/>
                </a:solidFill>
                <a:latin typeface="Barlow Semi-Bold"/>
              </a:rPr>
              <a:t>Endorse and Model a Safe Sleep Environment</a:t>
            </a:r>
          </a:p>
        </p:txBody>
      </p:sp>
      <p:sp>
        <p:nvSpPr>
          <p:cNvPr id="45" name="TextBox 45"/>
          <p:cNvSpPr txBox="1"/>
          <p:nvPr/>
        </p:nvSpPr>
        <p:spPr>
          <a:xfrm>
            <a:off x="6006042" y="5150827"/>
            <a:ext cx="3195016"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NYSPQC Safe Sleep Crib Cards</a:t>
            </a:r>
            <a:endParaRPr lang="en-US" sz="1450"/>
          </a:p>
          <a:p>
            <a:pPr marL="316230" lvl="1" indent="-158115">
              <a:lnSpc>
                <a:spcPts val="2053"/>
              </a:lnSpc>
              <a:buFont typeface="Arial"/>
              <a:buChar char="•"/>
            </a:pPr>
            <a:r>
              <a:rPr lang="en-US" sz="1450">
                <a:solidFill>
                  <a:srgbClr val="63696F"/>
                </a:solidFill>
                <a:latin typeface="Barlow Medium"/>
              </a:rPr>
              <a:t>Audit tools   </a:t>
            </a:r>
          </a:p>
          <a:p>
            <a:pPr marL="316230" lvl="1" indent="-158115">
              <a:lnSpc>
                <a:spcPts val="2053"/>
              </a:lnSpc>
              <a:buFont typeface="Arial"/>
              <a:buChar char="•"/>
            </a:pPr>
            <a:r>
              <a:rPr lang="en-US" sz="1450">
                <a:solidFill>
                  <a:srgbClr val="63696F"/>
                </a:solidFill>
                <a:latin typeface="Barlow Medium"/>
              </a:rPr>
              <a:t>Cribs for Kids T</a:t>
            </a:r>
            <a:r>
              <a:rPr lang="en-US" sz="1500">
                <a:solidFill>
                  <a:srgbClr val="63696F"/>
                </a:solidFill>
                <a:ea typeface="+mn-lt"/>
                <a:cs typeface="+mn-lt"/>
              </a:rPr>
              <a:t>oolkit &amp; Resources </a:t>
            </a:r>
            <a:r>
              <a:rPr lang="en-US" sz="1450">
                <a:solidFill>
                  <a:srgbClr val="63696F"/>
                </a:solidFill>
                <a:latin typeface="Barlow Medium"/>
              </a:rPr>
              <a:t> </a:t>
            </a:r>
          </a:p>
          <a:p>
            <a:pPr marL="316230" lvl="1" indent="-158115">
              <a:lnSpc>
                <a:spcPts val="2053"/>
              </a:lnSpc>
              <a:buFont typeface="Arial"/>
              <a:buChar char="•"/>
            </a:pPr>
            <a:r>
              <a:rPr lang="en-US" sz="1450">
                <a:solidFill>
                  <a:srgbClr val="63696F"/>
                </a:solidFill>
                <a:latin typeface="Barlow Medium"/>
              </a:rPr>
              <a:t>Modeling Safe Practices: A Checklist for Infant Sleep &amp; Breastfeeding Images</a:t>
            </a:r>
          </a:p>
        </p:txBody>
      </p:sp>
      <p:sp>
        <p:nvSpPr>
          <p:cNvPr id="46" name="TextBox 46"/>
          <p:cNvSpPr txBox="1"/>
          <p:nvPr/>
        </p:nvSpPr>
        <p:spPr>
          <a:xfrm>
            <a:off x="539275"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8257369" y="226246"/>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sp>
      <p:sp>
        <p:nvSpPr>
          <p:cNvPr id="51" name="TextBox 19">
            <a:extLst>
              <a:ext uri="{FF2B5EF4-FFF2-40B4-BE49-F238E27FC236}">
                <a16:creationId xmlns:a16="http://schemas.microsoft.com/office/drawing/2014/main" id="{233EFC40-2641-E728-F412-79899FC6D0D7}"/>
              </a:ext>
            </a:extLst>
          </p:cNvPr>
          <p:cNvSpPr txBox="1"/>
          <p:nvPr/>
        </p:nvSpPr>
        <p:spPr>
          <a:xfrm>
            <a:off x="9910059" y="1086120"/>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66360ABF-1F2C-C63A-9187-17E2573B3DEB}"/>
              </a:ext>
            </a:extLst>
          </p:cNvPr>
          <p:cNvSpPr/>
          <p:nvPr/>
        </p:nvSpPr>
        <p:spPr>
          <a:xfrm>
            <a:off x="10256502" y="6310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8"/>
            <a:stretch>
              <a:fillRect/>
            </a:stretch>
          </a:blipFill>
        </p:spPr>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7795642" cy="270395"/>
          </a:xfrm>
          <a:prstGeom prst="rect">
            <a:avLst/>
          </a:prstGeom>
        </p:spPr>
        <p:txBody>
          <a:bodyPr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ea typeface="+mn-lt"/>
                <a:cs typeface="+mn-lt"/>
              </a:rPr>
              <a:t>Safe Sleep Environment Education and Implementation</a:t>
            </a:r>
            <a:endParaRPr lang="en-US">
              <a:ea typeface="Calibri"/>
              <a:cs typeface="Calibri"/>
            </a:endParaRPr>
          </a:p>
        </p:txBody>
      </p:sp>
    </p:spTree>
    <p:extLst>
      <p:ext uri="{BB962C8B-B14F-4D97-AF65-F5344CB8AC3E}">
        <p14:creationId xmlns:p14="http://schemas.microsoft.com/office/powerpoint/2010/main" val="3172861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5493026" cy="1325563"/>
          </a:xfrm>
        </p:spPr>
        <p:txBody>
          <a:bodyPr/>
          <a:lstStyle/>
          <a:p>
            <a:r>
              <a:rPr lang="en-US"/>
              <a:t>Step 8: </a:t>
            </a:r>
            <a:r>
              <a:rPr lang="en-US" b="0"/>
              <a:t>Start drafting your 30-60-90 Day plan</a:t>
            </a:r>
          </a:p>
        </p:txBody>
      </p:sp>
      <p:sp>
        <p:nvSpPr>
          <p:cNvPr id="3" name="Content Placeholder 2"/>
          <p:cNvSpPr>
            <a:spLocks noGrp="1"/>
          </p:cNvSpPr>
          <p:nvPr>
            <p:ph idx="1"/>
          </p:nvPr>
        </p:nvSpPr>
        <p:spPr>
          <a:xfrm>
            <a:off x="609600" y="1825625"/>
            <a:ext cx="3777673" cy="4351338"/>
          </a:xfrm>
        </p:spPr>
        <p:txBody>
          <a:bodyPr/>
          <a:lstStyle/>
          <a:p>
            <a:r>
              <a:rPr lang="en-US"/>
              <a:t>Create your 30-60-90 day plan for launching the initiative</a:t>
            </a:r>
          </a:p>
          <a:p>
            <a:r>
              <a:rPr lang="en-US"/>
              <a:t>How will you get started over the next 3 months</a:t>
            </a:r>
          </a:p>
          <a:p>
            <a:r>
              <a:rPr lang="en-US"/>
              <a:t>Begin with implementing the 10 steps to getting started</a:t>
            </a:r>
          </a:p>
        </p:txBody>
      </p:sp>
      <p:sp>
        <p:nvSpPr>
          <p:cNvPr id="4" name="Slide Number Placeholder 3"/>
          <p:cNvSpPr>
            <a:spLocks noGrp="1"/>
          </p:cNvSpPr>
          <p:nvPr>
            <p:ph type="sldNum" sz="quarter" idx="10"/>
          </p:nvPr>
        </p:nvSpPr>
        <p:spPr/>
        <p:txBody>
          <a:bodyPr/>
          <a:lstStyle/>
          <a:p>
            <a:fld id="{97033E4B-E3EB-3D46-B2D8-3159663620FA}" type="slidenum">
              <a:rPr lang="en-US" smtClean="0"/>
              <a:pPr/>
              <a:t>4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223400" y="1690688"/>
            <a:ext cx="7498762" cy="4904969"/>
          </a:xfrm>
          <a:prstGeom prst="rect">
            <a:avLst/>
          </a:prstGeom>
        </p:spPr>
      </p:pic>
    </p:spTree>
    <p:extLst>
      <p:ext uri="{BB962C8B-B14F-4D97-AF65-F5344CB8AC3E}">
        <p14:creationId xmlns:p14="http://schemas.microsoft.com/office/powerpoint/2010/main" val="213865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a:ea typeface="Lato Medium"/>
                <a:cs typeface="Lato Medium"/>
              </a:rPr>
              <a:t>Step 9: </a:t>
            </a:r>
            <a:r>
              <a:rPr lang="en-US" b="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a:cs typeface="Calibri"/>
              </a:rPr>
              <a:t>Visit ilpqc.org/ESSI to register for the calls!</a:t>
            </a:r>
            <a:endParaRPr lang="en-US" sz="3600"/>
          </a:p>
        </p:txBody>
      </p:sp>
    </p:spTree>
    <p:extLst>
      <p:ext uri="{BB962C8B-B14F-4D97-AF65-F5344CB8AC3E}">
        <p14:creationId xmlns:p14="http://schemas.microsoft.com/office/powerpoint/2010/main" val="19514448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536873" cy="1325563"/>
          </a:xfrm>
        </p:spPr>
        <p:txBody>
          <a:bodyPr/>
          <a:lstStyle/>
          <a:p>
            <a:r>
              <a:rPr lang="en-US"/>
              <a:t>Step 10: </a:t>
            </a:r>
            <a:r>
              <a:rPr lang="en-US" b="0"/>
              <a:t>Energize and educate your hospital team members about ESSI</a:t>
            </a:r>
          </a:p>
        </p:txBody>
      </p:sp>
      <p:sp>
        <p:nvSpPr>
          <p:cNvPr id="3" name="Content Placeholder 2"/>
          <p:cNvSpPr>
            <a:spLocks noGrp="1"/>
          </p:cNvSpPr>
          <p:nvPr>
            <p:ph idx="1"/>
          </p:nvPr>
        </p:nvSpPr>
        <p:spPr>
          <a:xfrm>
            <a:off x="609600" y="1825625"/>
            <a:ext cx="7703907" cy="4351338"/>
          </a:xfrm>
        </p:spPr>
        <p:txBody>
          <a:bodyPr vert="horz" lIns="91440" tIns="45720" rIns="91440" bIns="45720" rtlCol="0" anchor="t">
            <a:noAutofit/>
          </a:bodyPr>
          <a:lstStyle/>
          <a:p>
            <a:r>
              <a:rPr lang="en-US"/>
              <a:t>Make an ESSI bulletin board to get the word out</a:t>
            </a:r>
          </a:p>
          <a:p>
            <a:r>
              <a:rPr lang="en-US">
                <a:ea typeface="Lato"/>
                <a:cs typeface="Lato"/>
              </a:rPr>
              <a:t>Begin a newsletter to inform staff about the initiative and strategies being implemented</a:t>
            </a:r>
          </a:p>
          <a:p>
            <a:r>
              <a:rPr lang="en-US">
                <a:ea typeface="Lato"/>
                <a:cs typeface="Lato"/>
              </a:rPr>
              <a:t>Take a picture of your first QI team meeting and email to </a:t>
            </a:r>
            <a:r>
              <a:rPr lang="en-US">
                <a:ea typeface="Lato"/>
                <a:cs typeface="Lato"/>
                <a:hlinkClick r:id="rId2"/>
              </a:rPr>
              <a:t>info@ilpqc.org</a:t>
            </a:r>
            <a:endParaRPr lang="en-US">
              <a:hlinkClick r:id="rId2"/>
            </a:endParaRPr>
          </a:p>
          <a:p>
            <a:r>
              <a:rPr lang="en-US" b="1" u="sng">
                <a:ea typeface="Lato"/>
                <a:cs typeface="Lato"/>
              </a:rPr>
              <a:t>Tips from Teams at AC:</a:t>
            </a:r>
          </a:p>
          <a:p>
            <a:pPr lvl="1"/>
            <a:r>
              <a:rPr lang="en-US">
                <a:ea typeface="Lato"/>
                <a:cs typeface="Lato"/>
              </a:rPr>
              <a:t>Share patient stories </a:t>
            </a:r>
            <a:endParaRPr lang="en-US"/>
          </a:p>
          <a:p>
            <a:pPr lvl="1"/>
            <a:r>
              <a:rPr lang="en-US"/>
              <a:t>Reinforce that what we do makes a difference</a:t>
            </a:r>
          </a:p>
        </p:txBody>
      </p:sp>
      <p:sp>
        <p:nvSpPr>
          <p:cNvPr id="4" name="Slide Number Placeholder 3"/>
          <p:cNvSpPr>
            <a:spLocks noGrp="1"/>
          </p:cNvSpPr>
          <p:nvPr>
            <p:ph type="sldNum" sz="quarter" idx="10"/>
          </p:nvPr>
        </p:nvSpPr>
        <p:spPr/>
        <p:txBody>
          <a:bodyPr/>
          <a:lstStyle/>
          <a:p>
            <a:fld id="{97033E4B-E3EB-3D46-B2D8-3159663620FA}" type="slidenum">
              <a:rPr lang="en-US" smtClean="0"/>
              <a:pPr/>
              <a:t>4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Graphic 5" descr="Dance with solid fill">
            <a:extLst>
              <a:ext uri="{FF2B5EF4-FFF2-40B4-BE49-F238E27FC236}">
                <a16:creationId xmlns:a16="http://schemas.microsoft.com/office/drawing/2014/main" id="{46F42E17-0175-F9A2-1E13-137F29CD08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8039" y="2757153"/>
            <a:ext cx="2180822" cy="2159357"/>
          </a:xfrm>
          <a:prstGeom prst="rect">
            <a:avLst/>
          </a:prstGeom>
        </p:spPr>
      </p:pic>
    </p:spTree>
    <p:extLst>
      <p:ext uri="{BB962C8B-B14F-4D97-AF65-F5344CB8AC3E}">
        <p14:creationId xmlns:p14="http://schemas.microsoft.com/office/powerpoint/2010/main" val="8090564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smiling at camera&#10;&#10;Description automatically generated">
            <a:extLst>
              <a:ext uri="{FF2B5EF4-FFF2-40B4-BE49-F238E27FC236}">
                <a16:creationId xmlns:a16="http://schemas.microsoft.com/office/drawing/2014/main" id="{816F29BE-5646-6BEF-B068-1BEC9474BEF9}"/>
              </a:ext>
            </a:extLst>
          </p:cNvPr>
          <p:cNvPicPr>
            <a:picLocks noChangeAspect="1"/>
          </p:cNvPicPr>
          <p:nvPr/>
        </p:nvPicPr>
        <p:blipFill rotWithShape="1">
          <a:blip r:embed="rId3"/>
          <a:srcRect l="24433" t="11085" r="18388" b="31840"/>
          <a:stretch/>
        </p:blipFill>
        <p:spPr>
          <a:xfrm>
            <a:off x="8326028" y="4201885"/>
            <a:ext cx="1763389" cy="1880602"/>
          </a:xfrm>
          <a:prstGeom prst="rect">
            <a:avLst/>
          </a:prstGeom>
        </p:spPr>
      </p:pic>
      <p:pic>
        <p:nvPicPr>
          <p:cNvPr id="28" name="Picture 27" descr="A person smiling at camera&#10;&#10;Description automatically generated">
            <a:extLst>
              <a:ext uri="{FF2B5EF4-FFF2-40B4-BE49-F238E27FC236}">
                <a16:creationId xmlns:a16="http://schemas.microsoft.com/office/drawing/2014/main" id="{B01FEAF7-46A7-FD13-104A-288A51AA2FB1}"/>
              </a:ext>
            </a:extLst>
          </p:cNvPr>
          <p:cNvPicPr>
            <a:picLocks noChangeAspect="1"/>
          </p:cNvPicPr>
          <p:nvPr/>
        </p:nvPicPr>
        <p:blipFill rotWithShape="1">
          <a:blip r:embed="rId4"/>
          <a:srcRect t="3571" r="8425" b="26376"/>
          <a:stretch/>
        </p:blipFill>
        <p:spPr>
          <a:xfrm>
            <a:off x="5210758" y="4198776"/>
            <a:ext cx="1771413" cy="2018583"/>
          </a:xfrm>
          <a:prstGeom prst="rect">
            <a:avLst/>
          </a:prstGeom>
        </p:spPr>
      </p:pic>
      <p:pic>
        <p:nvPicPr>
          <p:cNvPr id="25" name="Picture 24" descr="A person smiling at camera&#10;&#10;Description automatically generated">
            <a:extLst>
              <a:ext uri="{FF2B5EF4-FFF2-40B4-BE49-F238E27FC236}">
                <a16:creationId xmlns:a16="http://schemas.microsoft.com/office/drawing/2014/main" id="{89C82ACC-B53F-3EFC-F947-2650AE64367A}"/>
              </a:ext>
            </a:extLst>
          </p:cNvPr>
          <p:cNvPicPr>
            <a:picLocks noChangeAspect="1"/>
          </p:cNvPicPr>
          <p:nvPr/>
        </p:nvPicPr>
        <p:blipFill rotWithShape="1">
          <a:blip r:embed="rId5"/>
          <a:srcRect l="19547" t="9830" r="15297" b="44423"/>
          <a:stretch/>
        </p:blipFill>
        <p:spPr>
          <a:xfrm>
            <a:off x="9026543" y="1694434"/>
            <a:ext cx="1786674" cy="1882423"/>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E0470644-85B3-2014-9267-5A9785AA26B4}"/>
              </a:ext>
            </a:extLst>
          </p:cNvPr>
          <p:cNvPicPr>
            <a:picLocks noChangeAspect="1"/>
          </p:cNvPicPr>
          <p:nvPr/>
        </p:nvPicPr>
        <p:blipFill rotWithShape="1">
          <a:blip r:embed="rId6"/>
          <a:srcRect l="20397" t="8318" r="15014" b="45936"/>
          <a:stretch/>
        </p:blipFill>
        <p:spPr>
          <a:xfrm>
            <a:off x="6097707" y="1694434"/>
            <a:ext cx="1771829" cy="1882422"/>
          </a:xfrm>
          <a:prstGeom prst="rect">
            <a:avLst/>
          </a:prstGeom>
        </p:spPr>
      </p:pic>
      <p:pic>
        <p:nvPicPr>
          <p:cNvPr id="23" name="Picture 22" descr="A person smiling at camera&#10;&#10;Description automatically generated">
            <a:extLst>
              <a:ext uri="{FF2B5EF4-FFF2-40B4-BE49-F238E27FC236}">
                <a16:creationId xmlns:a16="http://schemas.microsoft.com/office/drawing/2014/main" id="{9DC5799B-1BE0-88E6-E13F-74F44D33C6A5}"/>
              </a:ext>
            </a:extLst>
          </p:cNvPr>
          <p:cNvPicPr>
            <a:picLocks noChangeAspect="1"/>
          </p:cNvPicPr>
          <p:nvPr/>
        </p:nvPicPr>
        <p:blipFill rotWithShape="1">
          <a:blip r:embed="rId7"/>
          <a:srcRect l="20000" t="6383" r="7619" b="42128"/>
          <a:stretch/>
        </p:blipFill>
        <p:spPr>
          <a:xfrm>
            <a:off x="3359336" y="1700342"/>
            <a:ext cx="1769329" cy="1883351"/>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1D9001D2-2A81-500B-79D0-6652C6388C19}"/>
              </a:ext>
            </a:extLst>
          </p:cNvPr>
          <p:cNvPicPr>
            <a:picLocks noChangeAspect="1"/>
          </p:cNvPicPr>
          <p:nvPr/>
        </p:nvPicPr>
        <p:blipFill rotWithShape="1">
          <a:blip r:embed="rId8"/>
          <a:srcRect l="24650" t="6134" r="14846" b="47769"/>
          <a:stretch/>
        </p:blipFill>
        <p:spPr>
          <a:xfrm>
            <a:off x="455645" y="1682620"/>
            <a:ext cx="1683018" cy="1927867"/>
          </a:xfrm>
          <a:prstGeom prst="rect">
            <a:avLst/>
          </a:prstGeom>
        </p:spPr>
      </p:pic>
      <p:sp>
        <p:nvSpPr>
          <p:cNvPr id="15" name="Title 1"/>
          <p:cNvSpPr>
            <a:spLocks noGrp="1"/>
          </p:cNvSpPr>
          <p:nvPr>
            <p:ph type="title"/>
          </p:nvPr>
        </p:nvSpPr>
        <p:spPr>
          <a:xfrm>
            <a:off x="462124" y="210790"/>
            <a:ext cx="6257027" cy="1498091"/>
          </a:xfrm>
          <a:solidFill>
            <a:schemeClr val="bg1"/>
          </a:solidFill>
        </p:spPr>
        <p:txBody>
          <a:bodyPr/>
          <a:lstStyle/>
          <a:p>
            <a:r>
              <a:rPr lang="en-US">
                <a:ea typeface="Lato Medium"/>
                <a:cs typeface="Lato Medium"/>
              </a:rPr>
              <a:t>ILPQC Central Team</a:t>
            </a:r>
            <a:endParaRPr lang="en-US"/>
          </a:p>
        </p:txBody>
      </p:sp>
      <p:sp>
        <p:nvSpPr>
          <p:cNvPr id="10" name="Rectangle 9"/>
          <p:cNvSpPr/>
          <p:nvPr/>
        </p:nvSpPr>
        <p:spPr>
          <a:xfrm>
            <a:off x="88312" y="3426779"/>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nn Borders, MD, MSc, MPH</a:t>
            </a:r>
            <a:r>
              <a:rPr lang="en-US" altLang="en-US" sz="1400">
                <a:solidFill>
                  <a:srgbClr val="444C55"/>
                </a:solidFill>
                <a:cs typeface="Arial" panose="020B0604020202020204" pitchFamily="34" charset="0"/>
              </a:rPr>
              <a:t>: Executive Director, OB Lead</a:t>
            </a:r>
            <a:endParaRPr lang="en-US"/>
          </a:p>
        </p:txBody>
      </p:sp>
      <p:sp>
        <p:nvSpPr>
          <p:cNvPr id="16" name="Rectangle 15"/>
          <p:cNvSpPr/>
          <p:nvPr/>
        </p:nvSpPr>
        <p:spPr>
          <a:xfrm>
            <a:off x="3304272" y="3432698"/>
            <a:ext cx="187755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Leslie  Caldarelli, MD</a:t>
            </a:r>
            <a:r>
              <a:rPr lang="en-US" altLang="en-US" sz="1400">
                <a:solidFill>
                  <a:srgbClr val="444C55"/>
                </a:solidFill>
                <a:cs typeface="Arial" panose="020B0604020202020204" pitchFamily="34" charset="0"/>
              </a:rPr>
              <a:t>: Neonatal Co-Lead</a:t>
            </a:r>
            <a:endParaRPr lang="en-US"/>
          </a:p>
        </p:txBody>
      </p:sp>
      <p:sp>
        <p:nvSpPr>
          <p:cNvPr id="17" name="Rectangle 16"/>
          <p:cNvSpPr/>
          <p:nvPr/>
        </p:nvSpPr>
        <p:spPr>
          <a:xfrm>
            <a:off x="8508270" y="3436054"/>
            <a:ext cx="282300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Patricia Lee King, PhD, MSW</a:t>
            </a:r>
            <a:r>
              <a:rPr lang="en-US" altLang="en-US" sz="1400">
                <a:solidFill>
                  <a:srgbClr val="004990"/>
                </a:solidFill>
                <a:cs typeface="Arial"/>
              </a:rPr>
              <a:t>: </a:t>
            </a:r>
            <a:r>
              <a:rPr lang="en-US" altLang="en-US" sz="1400">
                <a:solidFill>
                  <a:srgbClr val="444C55"/>
                </a:solidFill>
                <a:cs typeface="Arial"/>
              </a:rPr>
              <a:t>State Project Director, Quality Lead</a:t>
            </a:r>
            <a:endParaRPr lang="en-US" altLang="en-US" sz="1400">
              <a:solidFill>
                <a:srgbClr val="444C55"/>
              </a:solidFill>
              <a:ea typeface="Calibri"/>
              <a:cs typeface="Arial"/>
            </a:endParaRPr>
          </a:p>
        </p:txBody>
      </p:sp>
      <p:sp>
        <p:nvSpPr>
          <p:cNvPr id="19" name="Rectangle 18"/>
          <p:cNvSpPr/>
          <p:nvPr/>
        </p:nvSpPr>
        <p:spPr>
          <a:xfrm>
            <a:off x="5981861" y="3432698"/>
            <a:ext cx="200694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Justin Josephsen, MD</a:t>
            </a:r>
            <a:r>
              <a:rPr lang="en-US" altLang="en-US" sz="1400">
                <a:solidFill>
                  <a:srgbClr val="444C55"/>
                </a:solidFill>
                <a:cs typeface="Arial" panose="020B0604020202020204" pitchFamily="34" charset="0"/>
              </a:rPr>
              <a:t>: Neonatal Co-Lead</a:t>
            </a:r>
            <a:endParaRPr lang="en-US"/>
          </a:p>
        </p:txBody>
      </p:sp>
      <p:sp>
        <p:nvSpPr>
          <p:cNvPr id="20" name="Rectangle 19"/>
          <p:cNvSpPr/>
          <p:nvPr/>
        </p:nvSpPr>
        <p:spPr>
          <a:xfrm>
            <a:off x="8121142" y="5936284"/>
            <a:ext cx="216509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a:rPr>
              <a:t>Aleena </a:t>
            </a:r>
            <a:r>
              <a:rPr lang="en-US" altLang="en-US" sz="1400" b="1" err="1">
                <a:solidFill>
                  <a:srgbClr val="004990"/>
                </a:solidFill>
                <a:cs typeface="Arial"/>
              </a:rPr>
              <a:t>Surenian</a:t>
            </a:r>
            <a:r>
              <a:rPr lang="en-US" altLang="en-US" sz="1400" b="1">
                <a:solidFill>
                  <a:srgbClr val="004990"/>
                </a:solidFill>
                <a:cs typeface="Arial"/>
              </a:rPr>
              <a:t>, MPH </a:t>
            </a:r>
            <a:r>
              <a:rPr lang="en-US" altLang="en-US" sz="1400">
                <a:solidFill>
                  <a:srgbClr val="444C55"/>
                </a:solidFill>
                <a:cs typeface="Arial"/>
              </a:rPr>
              <a:t>: Project Coordinator</a:t>
            </a:r>
            <a:endParaRPr lang="en-US">
              <a:cs typeface="Arial"/>
            </a:endParaRPr>
          </a:p>
        </p:txBody>
      </p:sp>
      <p:sp>
        <p:nvSpPr>
          <p:cNvPr id="21" name="Rectangle 20"/>
          <p:cNvSpPr/>
          <p:nvPr/>
        </p:nvSpPr>
        <p:spPr>
          <a:xfrm>
            <a:off x="1043534" y="5942306"/>
            <a:ext cx="33287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lana Rivera, MSN, RNC-OB, C-EFM, CLC</a:t>
            </a:r>
            <a:r>
              <a:rPr lang="en-US" altLang="en-US" sz="1400">
                <a:solidFill>
                  <a:srgbClr val="444C55"/>
                </a:solidFill>
                <a:cs typeface="Arial" panose="020B0604020202020204" pitchFamily="34" charset="0"/>
              </a:rPr>
              <a:t>: </a:t>
            </a:r>
            <a:endParaRPr lang="en-US"/>
          </a:p>
          <a:p>
            <a:pPr lvl="0" algn="ctr">
              <a:spcBef>
                <a:spcPct val="0"/>
              </a:spcBef>
              <a:defRPr/>
            </a:pPr>
            <a:r>
              <a:rPr lang="en-US" altLang="en-US" sz="1400">
                <a:solidFill>
                  <a:srgbClr val="444C55"/>
                </a:solidFill>
                <a:cs typeface="Arial" panose="020B0604020202020204" pitchFamily="34" charset="0"/>
              </a:rPr>
              <a:t>Nurse Quality Manager</a:t>
            </a:r>
            <a:endParaRPr lang="en-US" altLang="en-US" sz="1400">
              <a:solidFill>
                <a:srgbClr val="444C55"/>
              </a:solidFill>
              <a:ea typeface="Calibri" panose="020F0502020204030204"/>
              <a:cs typeface="Arial" panose="020B0604020202020204" pitchFamily="34" charset="0"/>
            </a:endParaRPr>
          </a:p>
        </p:txBody>
      </p:sp>
      <p:sp>
        <p:nvSpPr>
          <p:cNvPr id="22" name="Rectangle 21"/>
          <p:cNvSpPr/>
          <p:nvPr/>
        </p:nvSpPr>
        <p:spPr>
          <a:xfrm>
            <a:off x="4871629" y="5936284"/>
            <a:ext cx="2455175"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Ellie Suse, MPH, BSN, RN</a:t>
            </a:r>
            <a:r>
              <a:rPr lang="en-US" altLang="en-US" sz="1400">
                <a:solidFill>
                  <a:srgbClr val="444C55"/>
                </a:solidFill>
                <a:cs typeface="Arial" panose="020B0604020202020204" pitchFamily="34" charset="0"/>
              </a:rPr>
              <a:t>: Project Manager</a:t>
            </a:r>
            <a:endParaRPr lang="en-US"/>
          </a:p>
        </p:txBody>
      </p:sp>
      <p:pic>
        <p:nvPicPr>
          <p:cNvPr id="27" name="Picture 26" descr="A person smiling at camera&#10;&#10;Description automatically generated">
            <a:extLst>
              <a:ext uri="{FF2B5EF4-FFF2-40B4-BE49-F238E27FC236}">
                <a16:creationId xmlns:a16="http://schemas.microsoft.com/office/drawing/2014/main" id="{36CBF34A-B0AF-1B25-2BEA-C6E65AED831F}"/>
              </a:ext>
            </a:extLst>
          </p:cNvPr>
          <p:cNvPicPr>
            <a:picLocks noChangeAspect="1"/>
          </p:cNvPicPr>
          <p:nvPr/>
        </p:nvPicPr>
        <p:blipFill rotWithShape="1">
          <a:blip r:embed="rId9"/>
          <a:srcRect l="472" t="1138" r="8950" b="39341"/>
          <a:stretch/>
        </p:blipFill>
        <p:spPr>
          <a:xfrm>
            <a:off x="1822216" y="4198702"/>
            <a:ext cx="1770692" cy="1738184"/>
          </a:xfrm>
          <a:prstGeom prst="rect">
            <a:avLst/>
          </a:prstGeom>
        </p:spPr>
      </p:pic>
    </p:spTree>
    <p:extLst>
      <p:ext uri="{BB962C8B-B14F-4D97-AF65-F5344CB8AC3E}">
        <p14:creationId xmlns:p14="http://schemas.microsoft.com/office/powerpoint/2010/main" val="37340426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6"/>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464980632"/>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7684177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2" name="Title 1"/>
          <p:cNvSpPr>
            <a:spLocks noGrp="1"/>
          </p:cNvSpPr>
          <p:nvPr>
            <p:ph type="title" idx="4294967295"/>
          </p:nvPr>
        </p:nvSpPr>
        <p:spPr>
          <a:xfrm>
            <a:off x="609600" y="149386"/>
            <a:ext cx="8087708" cy="1325563"/>
          </a:xfrm>
          <a:noFill/>
        </p:spPr>
        <p:txBody>
          <a:bodyPr>
            <a:normAutofit/>
          </a:bodyPr>
          <a:lstStyle/>
          <a:p>
            <a:r>
              <a:rPr lang="en-US">
                <a:ea typeface="Lato Medium"/>
                <a:cs typeface="Lato Medium"/>
              </a:rPr>
              <a:t>ILPQC Initiatives &amp;</a:t>
            </a:r>
            <a:br>
              <a:rPr lang="en-US">
                <a:ea typeface="Lato Medium"/>
                <a:cs typeface="Lato Medium"/>
              </a:rPr>
            </a:br>
            <a:r>
              <a:rPr lang="en-US">
                <a:ea typeface="Lato Medium"/>
                <a:cs typeface="Lato Medium"/>
              </a:rPr>
              <a:t>Hospital Engagement</a:t>
            </a:r>
          </a:p>
        </p:txBody>
      </p:sp>
      <p:sp>
        <p:nvSpPr>
          <p:cNvPr id="9" name="Rounded Rectangle 8"/>
          <p:cNvSpPr/>
          <p:nvPr/>
        </p:nvSpPr>
        <p:spPr>
          <a:xfrm>
            <a:off x="1944477" y="5314848"/>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5</a:t>
            </a:r>
          </a:p>
        </p:txBody>
      </p:sp>
      <p:sp>
        <p:nvSpPr>
          <p:cNvPr id="12" name="Rounded Rectangle 11"/>
          <p:cNvSpPr/>
          <p:nvPr/>
        </p:nvSpPr>
        <p:spPr>
          <a:xfrm>
            <a:off x="2985870" y="5330637"/>
            <a:ext cx="1023820" cy="796338"/>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6</a:t>
            </a:r>
          </a:p>
        </p:txBody>
      </p:sp>
      <p:sp>
        <p:nvSpPr>
          <p:cNvPr id="15" name="Rounded Rectangle 14"/>
          <p:cNvSpPr/>
          <p:nvPr/>
        </p:nvSpPr>
        <p:spPr>
          <a:xfrm>
            <a:off x="4040642" y="5333429"/>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7</a:t>
            </a:r>
          </a:p>
        </p:txBody>
      </p:sp>
      <p:sp>
        <p:nvSpPr>
          <p:cNvPr id="21" name="Rounded Rectangle 20"/>
          <p:cNvSpPr/>
          <p:nvPr/>
        </p:nvSpPr>
        <p:spPr>
          <a:xfrm>
            <a:off x="6159038"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9</a:t>
            </a:r>
          </a:p>
        </p:txBody>
      </p:sp>
      <p:sp>
        <p:nvSpPr>
          <p:cNvPr id="24" name="Rounded Rectangle 23"/>
          <p:cNvSpPr/>
          <p:nvPr/>
        </p:nvSpPr>
        <p:spPr>
          <a:xfrm>
            <a:off x="836227"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4</a:t>
            </a:r>
          </a:p>
        </p:txBody>
      </p:sp>
      <p:sp>
        <p:nvSpPr>
          <p:cNvPr id="26" name="Rounded Rectangle 25"/>
          <p:cNvSpPr/>
          <p:nvPr/>
        </p:nvSpPr>
        <p:spPr>
          <a:xfrm>
            <a:off x="793462" y="4261574"/>
            <a:ext cx="1072085"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arly Elective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9 teams</a:t>
            </a:r>
          </a:p>
        </p:txBody>
      </p:sp>
      <p:sp>
        <p:nvSpPr>
          <p:cNvPr id="27" name="Rounded Rectangle 26"/>
          <p:cNvSpPr/>
          <p:nvPr/>
        </p:nvSpPr>
        <p:spPr>
          <a:xfrm>
            <a:off x="798264" y="3240837"/>
            <a:ext cx="1072085"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 Nutr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8 teams</a:t>
            </a:r>
          </a:p>
        </p:txBody>
      </p:sp>
      <p:sp>
        <p:nvSpPr>
          <p:cNvPr id="28" name="Rounded Rectangle 27"/>
          <p:cNvSpPr/>
          <p:nvPr/>
        </p:nvSpPr>
        <p:spPr>
          <a:xfrm>
            <a:off x="1950667" y="3240837"/>
            <a:ext cx="3120082"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Golden Ho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26 Teams</a:t>
            </a:r>
          </a:p>
        </p:txBody>
      </p:sp>
      <p:sp>
        <p:nvSpPr>
          <p:cNvPr id="29" name="Rounded Rectangle 28"/>
          <p:cNvSpPr/>
          <p:nvPr/>
        </p:nvSpPr>
        <p:spPr>
          <a:xfrm>
            <a:off x="1950667" y="4261574"/>
            <a:ext cx="1057147"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Cert Accura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7 teams</a:t>
            </a:r>
          </a:p>
        </p:txBody>
      </p:sp>
      <p:sp>
        <p:nvSpPr>
          <p:cNvPr id="30" name="Rounded Rectangle 29"/>
          <p:cNvSpPr/>
          <p:nvPr/>
        </p:nvSpPr>
        <p:spPr>
          <a:xfrm>
            <a:off x="3065171" y="4261574"/>
            <a:ext cx="1979579"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aternal Hyperten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12 Teams</a:t>
            </a:r>
          </a:p>
        </p:txBody>
      </p:sp>
      <p:sp>
        <p:nvSpPr>
          <p:cNvPr id="31" name="Rounded Rectangle 30"/>
          <p:cNvSpPr/>
          <p:nvPr/>
        </p:nvSpPr>
        <p:spPr>
          <a:xfrm>
            <a:off x="5118243" y="4261574"/>
            <a:ext cx="3105411"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Obste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1 Teams</a:t>
            </a:r>
          </a:p>
        </p:txBody>
      </p:sp>
      <p:sp>
        <p:nvSpPr>
          <p:cNvPr id="32" name="Rounded Rectangle 31"/>
          <p:cNvSpPr/>
          <p:nvPr/>
        </p:nvSpPr>
        <p:spPr>
          <a:xfrm>
            <a:off x="5138277" y="3240837"/>
            <a:ext cx="3085377"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Neona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8 Teams</a:t>
            </a:r>
          </a:p>
        </p:txBody>
      </p:sp>
      <p:sp>
        <p:nvSpPr>
          <p:cNvPr id="33" name="Rounded Rectangle 32"/>
          <p:cNvSpPr/>
          <p:nvPr/>
        </p:nvSpPr>
        <p:spPr>
          <a:xfrm>
            <a:off x="5132662" y="2220100"/>
            <a:ext cx="309099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mmediate Postpartum Long Acting Reversible Contraception (LARC)</a:t>
            </a:r>
          </a:p>
        </p:txBody>
      </p:sp>
      <p:sp>
        <p:nvSpPr>
          <p:cNvPr id="34" name="Rounded Rectangle 33"/>
          <p:cNvSpPr/>
          <p:nvPr/>
        </p:nvSpPr>
        <p:spPr>
          <a:xfrm>
            <a:off x="6088422" y="1199363"/>
            <a:ext cx="213523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mproving Postpartum Access to Care</a:t>
            </a:r>
          </a:p>
        </p:txBody>
      </p:sp>
      <p:sp>
        <p:nvSpPr>
          <p:cNvPr id="36" name="Rounded Rectangle 35"/>
          <p:cNvSpPr/>
          <p:nvPr/>
        </p:nvSpPr>
        <p:spPr>
          <a:xfrm>
            <a:off x="8311524" y="4261696"/>
            <a:ext cx="3498259"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omoting</a:t>
            </a:r>
            <a:r>
              <a:rPr kumimoji="0" lang="en-US" sz="1400" b="0" i="0" u="none" strike="noStrike" kern="1200" cap="none" spc="0" normalizeH="0" noProof="0">
                <a:ln>
                  <a:noFill/>
                </a:ln>
                <a:solidFill>
                  <a:srgbClr val="FFFFFF"/>
                </a:solidFill>
                <a:effectLst/>
                <a:uLnTx/>
                <a:uFillTx/>
                <a:latin typeface="Arial" panose="020B0604020202020204"/>
                <a:ea typeface="+mn-ea"/>
                <a:cs typeface="+mn-cs"/>
              </a:rPr>
              <a:t> Vaginal Birth (PVB)</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94 teams</a:t>
            </a:r>
          </a:p>
        </p:txBody>
      </p:sp>
      <p:sp>
        <p:nvSpPr>
          <p:cNvPr id="38" name="Rounded Rectangle 37"/>
          <p:cNvSpPr/>
          <p:nvPr/>
        </p:nvSpPr>
        <p:spPr>
          <a:xfrm>
            <a:off x="7240181" y="5330635"/>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cs typeface="Calibri"/>
              </a:rPr>
              <a:t>2020</a:t>
            </a:r>
            <a:endParaRPr lang="en-US" sz="2250"/>
          </a:p>
        </p:txBody>
      </p:sp>
      <p:sp>
        <p:nvSpPr>
          <p:cNvPr id="40" name="Rounded Rectangle 39"/>
          <p:cNvSpPr/>
          <p:nvPr/>
        </p:nvSpPr>
        <p:spPr>
          <a:xfrm>
            <a:off x="8308295" y="3238984"/>
            <a:ext cx="2565658" cy="918360"/>
          </a:xfrm>
          <a:prstGeom prst="roundRect">
            <a:avLst/>
          </a:prstGeom>
          <a:solidFill>
            <a:srgbClr val="F5846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Arial" panose="020B0604020202020204"/>
              </a:rPr>
              <a:t>Babies Antibiotic Stewardship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2 teams</a:t>
            </a:r>
          </a:p>
        </p:txBody>
      </p:sp>
      <p:sp>
        <p:nvSpPr>
          <p:cNvPr id="42" name="Rounded Rectangle 41"/>
          <p:cNvSpPr/>
          <p:nvPr/>
        </p:nvSpPr>
        <p:spPr>
          <a:xfrm>
            <a:off x="8304385" y="5330634"/>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1</a:t>
            </a:r>
          </a:p>
        </p:txBody>
      </p:sp>
      <p:sp>
        <p:nvSpPr>
          <p:cNvPr id="44" name="Rounded Rectangle 43"/>
          <p:cNvSpPr/>
          <p:nvPr/>
        </p:nvSpPr>
        <p:spPr>
          <a:xfrm>
            <a:off x="8322302" y="2213025"/>
            <a:ext cx="3748928"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Equ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6 teams</a:t>
            </a:r>
          </a:p>
        </p:txBody>
      </p:sp>
      <p:sp>
        <p:nvSpPr>
          <p:cNvPr id="47" name="Rounded Rectangle 46"/>
          <p:cNvSpPr/>
          <p:nvPr/>
        </p:nvSpPr>
        <p:spPr>
          <a:xfrm>
            <a:off x="9330274" y="5330633"/>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2</a:t>
            </a:r>
          </a:p>
        </p:txBody>
      </p:sp>
      <p:sp>
        <p:nvSpPr>
          <p:cNvPr id="50" name="Rounded Rectangle 49"/>
          <p:cNvSpPr/>
          <p:nvPr/>
        </p:nvSpPr>
        <p:spPr>
          <a:xfrm>
            <a:off x="10392787" y="5321723"/>
            <a:ext cx="951933"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3</a:t>
            </a:r>
          </a:p>
        </p:txBody>
      </p:sp>
      <p:sp>
        <p:nvSpPr>
          <p:cNvPr id="52" name="Rounded Rectangle 51"/>
          <p:cNvSpPr/>
          <p:nvPr/>
        </p:nvSpPr>
        <p:spPr>
          <a:xfrm>
            <a:off x="10924749" y="3253361"/>
            <a:ext cx="1154810" cy="918360"/>
          </a:xfrm>
          <a:prstGeom prst="roundRect">
            <a:avLst/>
          </a:prstGeom>
          <a:solidFill>
            <a:srgbClr val="F58466"/>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a:solidFill>
                  <a:srgbClr val="FFFFFF"/>
                </a:solidFill>
                <a:latin typeface="Arial" panose="020B0604020202020204"/>
              </a:rPr>
              <a:t>Equity and Safe Sleep for Infants</a:t>
            </a:r>
          </a:p>
          <a:p>
            <a:pPr algn="ctr">
              <a:defRPr/>
            </a:pPr>
            <a:r>
              <a:rPr lang="en-US" sz="1400">
                <a:solidFill>
                  <a:srgbClr val="FFFFFF"/>
                </a:solidFill>
                <a:latin typeface="Arial" panose="020B0604020202020204"/>
                <a:cs typeface="Arial"/>
              </a:rPr>
              <a:t>2024</a:t>
            </a:r>
          </a:p>
        </p:txBody>
      </p:sp>
      <p:sp>
        <p:nvSpPr>
          <p:cNvPr id="54" name="Rounded Rectangle 53"/>
          <p:cNvSpPr/>
          <p:nvPr/>
        </p:nvSpPr>
        <p:spPr>
          <a:xfrm>
            <a:off x="5106956" y="5330632"/>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8</a:t>
            </a:r>
          </a:p>
        </p:txBody>
      </p:sp>
      <p:sp>
        <p:nvSpPr>
          <p:cNvPr id="56" name="Rounded Rectangle 55"/>
          <p:cNvSpPr/>
          <p:nvPr/>
        </p:nvSpPr>
        <p:spPr>
          <a:xfrm>
            <a:off x="836227" y="1639592"/>
            <a:ext cx="1072085" cy="812493"/>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a:t>
            </a:r>
          </a:p>
        </p:txBody>
      </p:sp>
      <p:sp>
        <p:nvSpPr>
          <p:cNvPr id="57" name="Rounded Rectangle 56"/>
          <p:cNvSpPr/>
          <p:nvPr/>
        </p:nvSpPr>
        <p:spPr>
          <a:xfrm>
            <a:off x="1967346" y="1639592"/>
            <a:ext cx="1128813" cy="81249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bstetric</a:t>
            </a:r>
          </a:p>
        </p:txBody>
      </p:sp>
      <p:sp>
        <p:nvSpPr>
          <p:cNvPr id="6" name="Rounded Rectangle 49">
            <a:extLst>
              <a:ext uri="{FF2B5EF4-FFF2-40B4-BE49-F238E27FC236}">
                <a16:creationId xmlns:a16="http://schemas.microsoft.com/office/drawing/2014/main" id="{F3ED7E25-23C5-287B-B515-4829C0FF9664}"/>
              </a:ext>
            </a:extLst>
          </p:cNvPr>
          <p:cNvSpPr/>
          <p:nvPr/>
        </p:nvSpPr>
        <p:spPr>
          <a:xfrm>
            <a:off x="11341693" y="5321723"/>
            <a:ext cx="851292"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4</a:t>
            </a:r>
          </a:p>
        </p:txBody>
      </p:sp>
      <p:cxnSp>
        <p:nvCxnSpPr>
          <p:cNvPr id="7" name="Straight Arrow Connector 6"/>
          <p:cNvCxnSpPr/>
          <p:nvPr/>
        </p:nvCxnSpPr>
        <p:spPr>
          <a:xfrm>
            <a:off x="794203" y="5253574"/>
            <a:ext cx="11400520" cy="1390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5395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rot="16200000">
            <a:off x="2667000" y="-2192547"/>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3">
              <a:alphaModFix amt="50000"/>
            </a:blip>
            <a:stretch>
              <a:fillRect l="-70429" r="-70429"/>
            </a:stretch>
          </a:blipFill>
        </p:spPr>
      </p:sp>
      <p:sp>
        <p:nvSpPr>
          <p:cNvPr id="3" name="Freeform 3"/>
          <p:cNvSpPr/>
          <p:nvPr/>
        </p:nvSpPr>
        <p:spPr>
          <a:xfrm>
            <a:off x="9444723" y="1335006"/>
            <a:ext cx="2751492" cy="4179349"/>
          </a:xfrm>
          <a:custGeom>
            <a:avLst/>
            <a:gdLst/>
            <a:ahLst/>
            <a:cxnLst/>
            <a:rect l="l" t="t" r="r" b="b"/>
            <a:pathLst>
              <a:path w="4127238" h="6269024">
                <a:moveTo>
                  <a:pt x="0" y="0"/>
                </a:moveTo>
                <a:lnTo>
                  <a:pt x="4127238" y="0"/>
                </a:lnTo>
                <a:lnTo>
                  <a:pt x="4127238" y="6269024"/>
                </a:lnTo>
                <a:lnTo>
                  <a:pt x="0" y="6269024"/>
                </a:lnTo>
                <a:lnTo>
                  <a:pt x="0" y="0"/>
                </a:lnTo>
                <a:close/>
              </a:path>
            </a:pathLst>
          </a:custGeom>
          <a:blipFill>
            <a:blip r:embed="rId4"/>
            <a:stretch>
              <a:fillRect/>
            </a:stretch>
          </a:blipFill>
        </p:spPr>
      </p:sp>
      <p:sp>
        <p:nvSpPr>
          <p:cNvPr id="4" name="TextBox 4"/>
          <p:cNvSpPr txBox="1"/>
          <p:nvPr/>
        </p:nvSpPr>
        <p:spPr>
          <a:xfrm>
            <a:off x="-128836" y="1140997"/>
            <a:ext cx="9331906" cy="615553"/>
          </a:xfrm>
          <a:prstGeom prst="rect">
            <a:avLst/>
          </a:prstGeom>
        </p:spPr>
        <p:txBody>
          <a:bodyPr wrap="square" lIns="0" tIns="0" rIns="0" bIns="0" rtlCol="0" anchor="t">
            <a:spAutoFit/>
          </a:bodyPr>
          <a:lstStyle/>
          <a:p>
            <a:pPr algn="ctr"/>
            <a:r>
              <a:rPr lang="en-US" sz="4000" b="1">
                <a:solidFill>
                  <a:schemeClr val="tx2"/>
                </a:solidFill>
                <a:latin typeface="Calibri"/>
                <a:cs typeface="Calibri"/>
              </a:rPr>
              <a:t>ILPQC: Making Change Happen</a:t>
            </a:r>
            <a:endParaRPr lang="en-US">
              <a:solidFill>
                <a:schemeClr val="tx2"/>
              </a:solidFill>
            </a:endParaRPr>
          </a:p>
        </p:txBody>
      </p:sp>
      <p:grpSp>
        <p:nvGrpSpPr>
          <p:cNvPr id="5" name="Group 5"/>
          <p:cNvGrpSpPr/>
          <p:nvPr/>
        </p:nvGrpSpPr>
        <p:grpSpPr>
          <a:xfrm>
            <a:off x="226147" y="2343731"/>
            <a:ext cx="2819636" cy="2535710"/>
            <a:chOff x="0" y="0"/>
            <a:chExt cx="1113930" cy="717765"/>
          </a:xfrm>
        </p:grpSpPr>
        <p:sp>
          <p:nvSpPr>
            <p:cNvPr id="6" name="Freeform 6"/>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B8CDDB"/>
            </a:solidFill>
          </p:spPr>
        </p:sp>
        <p:sp>
          <p:nvSpPr>
            <p:cNvPr id="7" name="TextBox 7"/>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8" name="Group 8"/>
          <p:cNvGrpSpPr/>
          <p:nvPr/>
        </p:nvGrpSpPr>
        <p:grpSpPr>
          <a:xfrm>
            <a:off x="3276364" y="2343731"/>
            <a:ext cx="2819636" cy="2535710"/>
            <a:chOff x="0" y="0"/>
            <a:chExt cx="1113930" cy="717765"/>
          </a:xfrm>
        </p:grpSpPr>
        <p:sp>
          <p:nvSpPr>
            <p:cNvPr id="9" name="Freeform 9"/>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7BB97"/>
            </a:solidFill>
          </p:spPr>
        </p:sp>
        <p:sp>
          <p:nvSpPr>
            <p:cNvPr id="10" name="TextBox 10"/>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11" name="Group 11"/>
          <p:cNvGrpSpPr/>
          <p:nvPr/>
        </p:nvGrpSpPr>
        <p:grpSpPr>
          <a:xfrm>
            <a:off x="6324600" y="2343731"/>
            <a:ext cx="2819636" cy="2535710"/>
            <a:chOff x="0" y="0"/>
            <a:chExt cx="1113930" cy="717765"/>
          </a:xfrm>
        </p:grpSpPr>
        <p:sp>
          <p:nvSpPr>
            <p:cNvPr id="12" name="Freeform 12"/>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FD2CC"/>
            </a:solidFill>
          </p:spPr>
        </p:sp>
        <p:sp>
          <p:nvSpPr>
            <p:cNvPr id="13" name="TextBox 13"/>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sp>
        <p:nvSpPr>
          <p:cNvPr id="14" name="TextBox 14"/>
          <p:cNvSpPr txBox="1"/>
          <p:nvPr/>
        </p:nvSpPr>
        <p:spPr>
          <a:xfrm>
            <a:off x="806620"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ENGAGE</a:t>
            </a:r>
          </a:p>
        </p:txBody>
      </p:sp>
      <p:sp>
        <p:nvSpPr>
          <p:cNvPr id="15" name="TextBox 15"/>
          <p:cNvSpPr txBox="1"/>
          <p:nvPr/>
        </p:nvSpPr>
        <p:spPr>
          <a:xfrm>
            <a:off x="369499" y="3309161"/>
            <a:ext cx="2509233" cy="737766"/>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Engage hospitals to create an environment of improvement</a:t>
            </a:r>
          </a:p>
        </p:txBody>
      </p:sp>
      <p:sp>
        <p:nvSpPr>
          <p:cNvPr id="16" name="TextBox 16"/>
          <p:cNvSpPr txBox="1"/>
          <p:nvPr/>
        </p:nvSpPr>
        <p:spPr>
          <a:xfrm>
            <a:off x="3489075" y="3309161"/>
            <a:ext cx="2365459" cy="995800"/>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Motivate hospital teams to facilitate change at their hospital</a:t>
            </a:r>
          </a:p>
        </p:txBody>
      </p:sp>
      <p:sp>
        <p:nvSpPr>
          <p:cNvPr id="17" name="TextBox 17"/>
          <p:cNvSpPr txBox="1"/>
          <p:nvPr/>
        </p:nvSpPr>
        <p:spPr>
          <a:xfrm>
            <a:off x="6853327"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SUPPORT</a:t>
            </a:r>
          </a:p>
        </p:txBody>
      </p:sp>
      <p:sp>
        <p:nvSpPr>
          <p:cNvPr id="18" name="TextBox 18"/>
          <p:cNvSpPr txBox="1"/>
          <p:nvPr/>
        </p:nvSpPr>
        <p:spPr>
          <a:xfrm>
            <a:off x="6527082" y="3309161"/>
            <a:ext cx="2451723" cy="1225079"/>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Support hospital teams through </a:t>
            </a:r>
            <a:endParaRPr lang="en-US"/>
          </a:p>
          <a:p>
            <a:pPr algn="ctr">
              <a:lnSpc>
                <a:spcPts val="1925"/>
              </a:lnSpc>
            </a:pPr>
            <a:r>
              <a:rPr lang="en-US" sz="2000" spc="40">
                <a:solidFill>
                  <a:srgbClr val="000000"/>
                </a:solidFill>
                <a:latin typeface="Calibri"/>
                <a:cs typeface="Calibri"/>
              </a:rPr>
              <a:t>collaborative learning, rapid-response data, &amp;  QI support​</a:t>
            </a:r>
            <a:endParaRPr lang="en-US"/>
          </a:p>
        </p:txBody>
      </p:sp>
      <p:sp>
        <p:nvSpPr>
          <p:cNvPr id="19" name="TextBox 19"/>
          <p:cNvSpPr txBox="1"/>
          <p:nvPr/>
        </p:nvSpPr>
        <p:spPr>
          <a:xfrm>
            <a:off x="3705209" y="2624029"/>
            <a:ext cx="1960613" cy="377667"/>
          </a:xfrm>
          <a:prstGeom prst="rect">
            <a:avLst/>
          </a:prstGeom>
        </p:spPr>
        <p:txBody>
          <a:bodyPr wrap="square" lIns="0" tIns="0" rIns="0" bIns="0" rtlCol="0" anchor="t">
            <a:spAutoFit/>
          </a:bodyPr>
          <a:lstStyle/>
          <a:p>
            <a:pPr algn="ctr">
              <a:lnSpc>
                <a:spcPts val="2799"/>
              </a:lnSpc>
              <a:spcBef>
                <a:spcPct val="0"/>
              </a:spcBef>
            </a:pPr>
            <a:r>
              <a:rPr lang="en-US" sz="3200" b="1" spc="63">
                <a:solidFill>
                  <a:schemeClr val="tx2"/>
                </a:solidFill>
                <a:latin typeface="Calibri"/>
                <a:cs typeface="Calibri"/>
              </a:rPr>
              <a:t>MOTIVATE​</a:t>
            </a:r>
          </a:p>
        </p:txBody>
      </p:sp>
      <p:sp>
        <p:nvSpPr>
          <p:cNvPr id="20" name="TextBox 20"/>
          <p:cNvSpPr txBox="1"/>
          <p:nvPr/>
        </p:nvSpPr>
        <p:spPr>
          <a:xfrm>
            <a:off x="336624" y="5321903"/>
            <a:ext cx="9114727" cy="1343958"/>
          </a:xfrm>
          <a:prstGeom prst="rect">
            <a:avLst/>
          </a:prstGeom>
        </p:spPr>
        <p:txBody>
          <a:bodyPr wrap="square" lIns="0" tIns="0" rIns="0" bIns="0" rtlCol="0" anchor="t">
            <a:spAutoFit/>
          </a:bodyPr>
          <a:lstStyle/>
          <a:p>
            <a:pPr algn="ctr">
              <a:spcBef>
                <a:spcPts val="400"/>
              </a:spcBef>
            </a:pPr>
            <a:r>
              <a:rPr lang="en-US" sz="2800" spc="55">
                <a:solidFill>
                  <a:schemeClr val="tx2"/>
                </a:solidFill>
                <a:latin typeface="Calibri"/>
                <a:cs typeface="Calibri"/>
              </a:rPr>
              <a:t>TO ACHIEVE INITIATIVE GOALS AND EQUITABLY IMPROVE OUTCOMES AND REDUCE DISPARITIES </a:t>
            </a:r>
          </a:p>
          <a:p>
            <a:pPr algn="ctr">
              <a:spcBef>
                <a:spcPts val="400"/>
              </a:spcBef>
            </a:pPr>
            <a:r>
              <a:rPr lang="en-US" sz="2800" spc="55">
                <a:solidFill>
                  <a:schemeClr val="tx2"/>
                </a:solidFill>
                <a:latin typeface="Calibri"/>
                <a:cs typeface="Calibri"/>
              </a:rPr>
              <a:t>FOR BIRTHING PEOPLE AND THEIR NEWBORNS </a:t>
            </a:r>
          </a:p>
        </p:txBody>
      </p:sp>
      <p:sp>
        <p:nvSpPr>
          <p:cNvPr id="22" name="Freeform 13">
            <a:extLst>
              <a:ext uri="{FF2B5EF4-FFF2-40B4-BE49-F238E27FC236}">
                <a16:creationId xmlns:a16="http://schemas.microsoft.com/office/drawing/2014/main" id="{FC17955B-1095-3B3F-42CD-74BB54765AD3}"/>
              </a:ext>
            </a:extLst>
          </p:cNvPr>
          <p:cNvSpPr/>
          <p:nvPr/>
        </p:nvSpPr>
        <p:spPr>
          <a:xfrm>
            <a:off x="10070190" y="5888398"/>
            <a:ext cx="1923480" cy="971492"/>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stretch>
              <a:fillRect t="-16582"/>
            </a:stretch>
          </a:blipFill>
        </p:spPr>
      </p:sp>
    </p:spTree>
    <p:extLst>
      <p:ext uri="{BB962C8B-B14F-4D97-AF65-F5344CB8AC3E}">
        <p14:creationId xmlns:p14="http://schemas.microsoft.com/office/powerpoint/2010/main" val="1789754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166" y="307616"/>
            <a:ext cx="10972800" cy="1325563"/>
          </a:xfrm>
          <a:noFill/>
        </p:spPr>
        <p:txBody>
          <a:bodyPr/>
          <a:lstStyle/>
          <a:p>
            <a:r>
              <a:rPr lang="en-US" sz="4400">
                <a:ea typeface="Lato Medium"/>
                <a:cs typeface="Lato Medium"/>
              </a:rPr>
              <a:t>ILPQC helps make change happen</a:t>
            </a:r>
          </a:p>
        </p:txBody>
      </p:sp>
      <p:sp>
        <p:nvSpPr>
          <p:cNvPr id="4" name="Slide Number Placeholder 3"/>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44693" y="1357495"/>
            <a:ext cx="2369812" cy="4862334"/>
          </a:xfrm>
          <a:prstGeom prst="rect">
            <a:avLst/>
          </a:prstGeom>
        </p:spPr>
      </p:pic>
      <p:pic>
        <p:nvPicPr>
          <p:cNvPr id="8" name="Content Placeholder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1006" y="2032001"/>
            <a:ext cx="6139187" cy="4080237"/>
          </a:xfrm>
          <a:prstGeom prst="rect">
            <a:avLst/>
          </a:prstGeom>
        </p:spPr>
      </p:pic>
      <p:sp>
        <p:nvSpPr>
          <p:cNvPr id="9" name="TextBox 8"/>
          <p:cNvSpPr txBox="1"/>
          <p:nvPr/>
        </p:nvSpPr>
        <p:spPr>
          <a:xfrm>
            <a:off x="608012" y="5627687"/>
            <a:ext cx="5829299" cy="338554"/>
          </a:xfrm>
          <a:prstGeom prst="rect">
            <a:avLst/>
          </a:prstGeom>
          <a:noFill/>
        </p:spPr>
        <p:txBody>
          <a:bodyPr wrap="square" lIns="91440" tIns="45720" rIns="91440" bIns="45720" rtlCol="0" anchor="t">
            <a:spAutoFit/>
          </a:bodyPr>
          <a:lstStyle/>
          <a:p>
            <a:pPr algn="ctr"/>
            <a:r>
              <a:rPr lang="en-US" sz="1600">
                <a:solidFill>
                  <a:schemeClr val="bg1"/>
                </a:solidFill>
                <a:ea typeface="+mn-lt"/>
                <a:cs typeface="+mn-lt"/>
              </a:rPr>
              <a:t>Hospital Teams, Community Stakeholders</a:t>
            </a:r>
            <a:r>
              <a:rPr lang="en-US" sz="1400">
                <a:solidFill>
                  <a:schemeClr val="bg1"/>
                </a:solidFill>
                <a:ea typeface="+mn-lt"/>
                <a:cs typeface="+mn-lt"/>
              </a:rPr>
              <a:t>,</a:t>
            </a:r>
            <a:r>
              <a:rPr lang="en-US" sz="1600">
                <a:solidFill>
                  <a:schemeClr val="bg1"/>
                </a:solidFill>
                <a:ea typeface="+mn-lt"/>
                <a:cs typeface="+mn-lt"/>
              </a:rPr>
              <a:t> Patients/Families</a:t>
            </a:r>
          </a:p>
        </p:txBody>
      </p:sp>
      <p:sp>
        <p:nvSpPr>
          <p:cNvPr id="10" name="Rectangle 9"/>
          <p:cNvSpPr/>
          <p:nvPr/>
        </p:nvSpPr>
        <p:spPr>
          <a:xfrm>
            <a:off x="7585705" y="6396335"/>
            <a:ext cx="2593329" cy="461665"/>
          </a:xfrm>
          <a:prstGeom prst="rect">
            <a:avLst/>
          </a:prstGeom>
        </p:spPr>
        <p:txBody>
          <a:bodyPr wrap="square">
            <a:spAutoFit/>
          </a:bodyPr>
          <a:lstStyle/>
          <a:p>
            <a:r>
              <a:rPr lang="en-US" sz="1200">
                <a:latin typeface="Arial" panose="020B0604020202020204" pitchFamily="34" charset="0"/>
              </a:rPr>
              <a:t>Langley GL MR, Nolan TW, Norman CL, Provost LP,. 2009</a:t>
            </a:r>
            <a:endParaRPr lang="en-US" sz="1200" b="0" i="0">
              <a:effectLst/>
              <a:latin typeface="Arial" panose="020B0604020202020204" pitchFamily="34" charset="0"/>
            </a:endParaRPr>
          </a:p>
        </p:txBody>
      </p:sp>
      <p:sp>
        <p:nvSpPr>
          <p:cNvPr id="11" name="Rounded Rectangle 10"/>
          <p:cNvSpPr/>
          <p:nvPr/>
        </p:nvSpPr>
        <p:spPr>
          <a:xfrm>
            <a:off x="9765792" y="1536013"/>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MART</a:t>
            </a:r>
          </a:p>
        </p:txBody>
      </p:sp>
      <p:sp>
        <p:nvSpPr>
          <p:cNvPr id="12" name="Rounded Rectangle 11"/>
          <p:cNvSpPr/>
          <p:nvPr/>
        </p:nvSpPr>
        <p:spPr>
          <a:xfrm>
            <a:off x="9765792" y="2238361"/>
            <a:ext cx="1816608" cy="1130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ucture, Process, Outcome, Balancing</a:t>
            </a:r>
          </a:p>
        </p:txBody>
      </p:sp>
      <p:sp>
        <p:nvSpPr>
          <p:cNvPr id="13" name="Rounded Rectangle 12"/>
          <p:cNvSpPr/>
          <p:nvPr/>
        </p:nvSpPr>
        <p:spPr>
          <a:xfrm>
            <a:off x="9765792" y="3417947"/>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QI Resources</a:t>
            </a:r>
          </a:p>
        </p:txBody>
      </p:sp>
    </p:spTree>
    <p:extLst>
      <p:ext uri="{BB962C8B-B14F-4D97-AF65-F5344CB8AC3E}">
        <p14:creationId xmlns:p14="http://schemas.microsoft.com/office/powerpoint/2010/main" val="4179369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50</Slides>
  <Notes>19</Notes>
  <HiddenSlides>0</HiddenSlides>
  <ScaleCrop>false</ScaleCrop>
  <HeadingPairs>
    <vt:vector size="4" baseType="variant">
      <vt:variant>
        <vt:lpstr>Theme</vt:lpstr>
      </vt:variant>
      <vt:variant>
        <vt:i4>4</vt:i4>
      </vt:variant>
      <vt:variant>
        <vt:lpstr>Slide Titles</vt:lpstr>
      </vt:variant>
      <vt:variant>
        <vt:i4>50</vt:i4>
      </vt:variant>
    </vt:vector>
  </HeadingPairs>
  <TitlesOfParts>
    <vt:vector size="54" baseType="lpstr">
      <vt:lpstr>1_Office Theme</vt:lpstr>
      <vt:lpstr>Office Theme</vt:lpstr>
      <vt:lpstr>3_Office Theme</vt:lpstr>
      <vt:lpstr>2_Office Theme</vt:lpstr>
      <vt:lpstr>QI Leader Support Call: ESSI Initiative  </vt:lpstr>
      <vt:lpstr> Overview</vt:lpstr>
      <vt:lpstr>ILPQC </vt:lpstr>
      <vt:lpstr>Illinois Perinatal Quality Collaborative (ILPQC) </vt:lpstr>
      <vt:lpstr>ILPQC Central Team</vt:lpstr>
      <vt:lpstr>Together, WE ARE ILPQC!</vt:lpstr>
      <vt:lpstr>ILPQC Initiatives &amp; Hospital Engagement</vt:lpstr>
      <vt:lpstr>PowerPoint Presentation</vt:lpstr>
      <vt:lpstr>ILPQC helps make change happen</vt:lpstr>
      <vt:lpstr>ILPQC initiative support</vt:lpstr>
      <vt:lpstr>What is QI?</vt:lpstr>
      <vt:lpstr>What is Quality Improvement?</vt:lpstr>
      <vt:lpstr>Quality Improvement work is NOT just education or large roll outs of one idea</vt:lpstr>
      <vt:lpstr>PDSA Cycles</vt:lpstr>
      <vt:lpstr>WHAT DOES IT MEAN TO BE  A QI TEAM LEAD?</vt:lpstr>
      <vt:lpstr>Role of the Team Lead</vt:lpstr>
      <vt:lpstr>Role of the Team Lead</vt:lpstr>
      <vt:lpstr>ILPQC QI Support Cycle</vt:lpstr>
      <vt:lpstr>STRATEGIES TO BE A SUCCESSFUL QI TEAM LEAD</vt:lpstr>
      <vt:lpstr>Elements and Strategies for Successful Team Leads</vt:lpstr>
      <vt:lpstr>Key Strategies to be a Successful QI Team Lead</vt:lpstr>
      <vt:lpstr>Team Lead Quarterly Calls</vt:lpstr>
      <vt:lpstr>WHERE TO START?</vt:lpstr>
      <vt:lpstr>PowerPoint Presentation</vt:lpstr>
      <vt:lpstr>PowerPoint Presentation</vt:lpstr>
      <vt:lpstr>ESSI 2024 Plan: Jan-June</vt:lpstr>
      <vt:lpstr>What should my ESSI team be working on now?</vt:lpstr>
      <vt:lpstr>Attend Upcoming Meetings</vt:lpstr>
      <vt:lpstr>Q&amp;A  Come off mute or put your questions in the chat!</vt:lpstr>
      <vt:lpstr>PowerPoint Presentation</vt:lpstr>
      <vt:lpstr>PowerPoint Presentation</vt:lpstr>
      <vt:lpstr>Key Driver Diagram</vt:lpstr>
      <vt:lpstr>Step 1: Establish Leadership Commitment</vt:lpstr>
      <vt:lpstr>Step 2: Schedule regular ESSI QI Team meetings</vt:lpstr>
      <vt:lpstr>Step 3: Confirm that your ESSI QI team roster is complete and up-to-date</vt:lpstr>
      <vt:lpstr>Step 4: Review ESSI Data Forms</vt:lpstr>
      <vt:lpstr>Hospital Level Data form: Structure Measures</vt:lpstr>
      <vt:lpstr>Hospital Level Data form: Structure Measures</vt:lpstr>
      <vt:lpstr>Hospital Level Data Form:  Safe Sleep Environment Audit</vt:lpstr>
      <vt:lpstr>Education Measures</vt:lpstr>
      <vt:lpstr>Patient Level Data Form</vt:lpstr>
      <vt:lpstr>Patient Level Data Form</vt:lpstr>
      <vt:lpstr>Step 6: Review your current safe sleep and respectful care provider, nursing, and staff education </vt:lpstr>
      <vt:lpstr>Step 7: ESSI Toolkit</vt:lpstr>
      <vt:lpstr>PowerPoint Presentation</vt:lpstr>
      <vt:lpstr>PowerPoint Presentation</vt:lpstr>
      <vt:lpstr>Step 8: Start drafting your 30-60-90 Day plan</vt:lpstr>
      <vt:lpstr>Step 9: Attend Upcoming Meetings</vt:lpstr>
      <vt:lpstr>Step 10: Energize and educate your hospital team members about ESSI</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revision>21</cp:revision>
  <dcterms:created xsi:type="dcterms:W3CDTF">2021-05-17T13:14:11Z</dcterms:created>
  <dcterms:modified xsi:type="dcterms:W3CDTF">2023-12-07T17:53:44Z</dcterms:modified>
</cp:coreProperties>
</file>